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  <p:sldMasterId id="2147483767" r:id="rId2"/>
    <p:sldMasterId id="2147483779" r:id="rId3"/>
  </p:sldMasterIdLst>
  <p:notesMasterIdLst>
    <p:notesMasterId r:id="rId12"/>
  </p:notesMasterIdLst>
  <p:sldIdLst>
    <p:sldId id="393" r:id="rId4"/>
    <p:sldId id="385" r:id="rId5"/>
    <p:sldId id="386" r:id="rId6"/>
    <p:sldId id="387" r:id="rId7"/>
    <p:sldId id="388" r:id="rId8"/>
    <p:sldId id="389" r:id="rId9"/>
    <p:sldId id="390" r:id="rId10"/>
    <p:sldId id="394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90AF"/>
    <a:srgbClr val="404040"/>
    <a:srgbClr val="BFBFBF"/>
    <a:srgbClr val="DEE3EA"/>
    <a:srgbClr val="BEC6D6"/>
    <a:srgbClr val="9DAAC3"/>
    <a:srgbClr val="535D71"/>
    <a:srgbClr val="F8F9F7"/>
    <a:srgbClr val="D5D5D5"/>
    <a:srgbClr val="9393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91" d="100"/>
          <a:sy n="91" d="100"/>
        </p:scale>
        <p:origin x="370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72E05C-401E-41F9-A209-8AEF2D276BDC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944BB5-FA95-4697-A30A-C26610522946}">
      <dgm:prSet phldrT="[Text]"/>
      <dgm:spPr/>
      <dgm:t>
        <a:bodyPr/>
        <a:lstStyle/>
        <a:p>
          <a:r>
            <a:rPr lang="en-US" dirty="0" smtClean="0"/>
            <a:t>Attribute/Signal</a:t>
          </a:r>
          <a:endParaRPr lang="en-US" dirty="0"/>
        </a:p>
      </dgm:t>
    </dgm:pt>
    <dgm:pt modelId="{5C50D0F1-0737-4E68-B031-FE25E25E2365}" type="parTrans" cxnId="{B88CEF6D-7904-4D20-9BA3-F7E9F66F0B35}">
      <dgm:prSet/>
      <dgm:spPr/>
      <dgm:t>
        <a:bodyPr/>
        <a:lstStyle/>
        <a:p>
          <a:endParaRPr lang="en-US"/>
        </a:p>
      </dgm:t>
    </dgm:pt>
    <dgm:pt modelId="{207F906C-1E0C-45A1-A837-1E3CFB4E7FEB}" type="sibTrans" cxnId="{B88CEF6D-7904-4D20-9BA3-F7E9F66F0B35}">
      <dgm:prSet/>
      <dgm:spPr/>
      <dgm:t>
        <a:bodyPr/>
        <a:lstStyle/>
        <a:p>
          <a:endParaRPr lang="en-US"/>
        </a:p>
      </dgm:t>
    </dgm:pt>
    <dgm:pt modelId="{AF613442-0BD9-46ED-AC95-4CABA8D66911}">
      <dgm:prSet phldrT="[Text]"/>
      <dgm:spPr/>
      <dgm:t>
        <a:bodyPr/>
        <a:lstStyle/>
        <a:p>
          <a:r>
            <a:rPr lang="en-US" dirty="0" smtClean="0"/>
            <a:t>Body</a:t>
          </a:r>
          <a:endParaRPr lang="en-US" dirty="0"/>
        </a:p>
      </dgm:t>
    </dgm:pt>
    <dgm:pt modelId="{A73902B5-6A97-4F4C-AE5B-385720AB3F42}" type="parTrans" cxnId="{7BB7045A-CAA9-4DAA-9190-204F37DF5427}">
      <dgm:prSet/>
      <dgm:spPr/>
      <dgm:t>
        <a:bodyPr/>
        <a:lstStyle/>
        <a:p>
          <a:endParaRPr lang="en-US"/>
        </a:p>
      </dgm:t>
    </dgm:pt>
    <dgm:pt modelId="{568F1DD1-988D-4988-808B-986AC02DD15C}" type="sibTrans" cxnId="{7BB7045A-CAA9-4DAA-9190-204F37DF5427}">
      <dgm:prSet/>
      <dgm:spPr/>
      <dgm:t>
        <a:bodyPr/>
        <a:lstStyle/>
        <a:p>
          <a:endParaRPr lang="en-US"/>
        </a:p>
      </dgm:t>
    </dgm:pt>
    <dgm:pt modelId="{8BF79C3E-1FA2-4D14-A57C-CCDEB809B8E3}">
      <dgm:prSet phldrT="[Text]"/>
      <dgm:spPr/>
      <dgm:t>
        <a:bodyPr/>
        <a:lstStyle/>
        <a:p>
          <a:r>
            <a:rPr lang="en-US" dirty="0" smtClean="0"/>
            <a:t>Raindetection</a:t>
          </a:r>
          <a:endParaRPr lang="en-US" dirty="0"/>
        </a:p>
      </dgm:t>
    </dgm:pt>
    <dgm:pt modelId="{EE89FB3A-6C0A-479D-931A-6FE3BE42BF38}" type="parTrans" cxnId="{2960A6DB-716C-46B7-85BC-E0F0FF4C40AB}">
      <dgm:prSet/>
      <dgm:spPr/>
      <dgm:t>
        <a:bodyPr/>
        <a:lstStyle/>
        <a:p>
          <a:endParaRPr lang="en-US"/>
        </a:p>
      </dgm:t>
    </dgm:pt>
    <dgm:pt modelId="{82FE7008-BF48-4944-AE08-EE467311B2F0}" type="sibTrans" cxnId="{2960A6DB-716C-46B7-85BC-E0F0FF4C40AB}">
      <dgm:prSet/>
      <dgm:spPr/>
      <dgm:t>
        <a:bodyPr/>
        <a:lstStyle/>
        <a:p>
          <a:endParaRPr lang="en-US"/>
        </a:p>
      </dgm:t>
    </dgm:pt>
    <dgm:pt modelId="{9AABEDD2-3312-4569-BE4E-2C6B7E58126B}">
      <dgm:prSet phldrT="[Text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Intensity</a:t>
          </a:r>
          <a:endParaRPr lang="en-US" dirty="0"/>
        </a:p>
      </dgm:t>
    </dgm:pt>
    <dgm:pt modelId="{7CD510D4-C21A-42C7-81DE-9100CDF1D1E5}" type="parTrans" cxnId="{2AD5E862-2219-4C1E-8D9B-A9C7935EBB8D}">
      <dgm:prSet/>
      <dgm:spPr/>
      <dgm:t>
        <a:bodyPr/>
        <a:lstStyle/>
        <a:p>
          <a:endParaRPr lang="en-US"/>
        </a:p>
      </dgm:t>
    </dgm:pt>
    <dgm:pt modelId="{565AB837-D2F6-4E2D-845F-A2801D2BD066}" type="sibTrans" cxnId="{2AD5E862-2219-4C1E-8D9B-A9C7935EBB8D}">
      <dgm:prSet/>
      <dgm:spPr/>
      <dgm:t>
        <a:bodyPr/>
        <a:lstStyle/>
        <a:p>
          <a:endParaRPr lang="en-US"/>
        </a:p>
      </dgm:t>
    </dgm:pt>
    <dgm:pt modelId="{C22C0127-C085-4EAB-BA71-84CF6FE8E1C6}">
      <dgm:prSet phldrT="[Text]"/>
      <dgm:spPr/>
      <dgm:t>
        <a:bodyPr/>
        <a:lstStyle/>
        <a:p>
          <a:r>
            <a:rPr lang="en-US" dirty="0" smtClean="0"/>
            <a:t>ADAS</a:t>
          </a:r>
          <a:endParaRPr lang="en-US" dirty="0"/>
        </a:p>
      </dgm:t>
    </dgm:pt>
    <dgm:pt modelId="{4370EB74-91B5-414E-9AE7-6FAF170203F4}" type="parTrans" cxnId="{0274280D-FBAD-496F-B345-6BC685308E99}">
      <dgm:prSet/>
      <dgm:spPr/>
      <dgm:t>
        <a:bodyPr/>
        <a:lstStyle/>
        <a:p>
          <a:endParaRPr lang="en-US"/>
        </a:p>
      </dgm:t>
    </dgm:pt>
    <dgm:pt modelId="{8F3E5848-8614-42D3-8631-3C52CD9D7FE3}" type="sibTrans" cxnId="{0274280D-FBAD-496F-B345-6BC685308E99}">
      <dgm:prSet/>
      <dgm:spPr/>
      <dgm:t>
        <a:bodyPr/>
        <a:lstStyle/>
        <a:p>
          <a:endParaRPr lang="en-US"/>
        </a:p>
      </dgm:t>
    </dgm:pt>
    <dgm:pt modelId="{C09877EB-2D6B-4481-B76F-18167CB0BE6F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Type: UInt8</a:t>
          </a:r>
          <a:endParaRPr lang="en-US" dirty="0"/>
        </a:p>
      </dgm:t>
    </dgm:pt>
    <dgm:pt modelId="{42A842DC-9E90-4C33-A3E7-6402F45B3D61}" type="parTrans" cxnId="{BA7BF23D-43D4-4C90-B2D0-EC711E78E512}">
      <dgm:prSet/>
      <dgm:spPr/>
      <dgm:t>
        <a:bodyPr/>
        <a:lstStyle/>
        <a:p>
          <a:endParaRPr lang="en-US"/>
        </a:p>
      </dgm:t>
    </dgm:pt>
    <dgm:pt modelId="{A119FC0F-7EFA-408B-B1F4-0C72414458FE}" type="sibTrans" cxnId="{BA7BF23D-43D4-4C90-B2D0-EC711E78E512}">
      <dgm:prSet/>
      <dgm:spPr/>
      <dgm:t>
        <a:bodyPr/>
        <a:lstStyle/>
        <a:p>
          <a:endParaRPr lang="en-US"/>
        </a:p>
      </dgm:t>
    </dgm:pt>
    <dgm:pt modelId="{38C73773-B1B9-4D46-AA0C-F711FB3D19F1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Unit: percent</a:t>
          </a:r>
          <a:endParaRPr lang="en-US" dirty="0"/>
        </a:p>
      </dgm:t>
    </dgm:pt>
    <dgm:pt modelId="{92607C20-AF5E-4446-81BD-49A81DC40596}" type="parTrans" cxnId="{D00BE326-D1FD-4C56-B8F8-C277C1647026}">
      <dgm:prSet/>
      <dgm:spPr/>
      <dgm:t>
        <a:bodyPr/>
        <a:lstStyle/>
        <a:p>
          <a:endParaRPr lang="en-US"/>
        </a:p>
      </dgm:t>
    </dgm:pt>
    <dgm:pt modelId="{0AA8740C-00D3-48B3-8785-2479CDFB0644}" type="sibTrans" cxnId="{D00BE326-D1FD-4C56-B8F8-C277C1647026}">
      <dgm:prSet/>
      <dgm:spPr/>
      <dgm:t>
        <a:bodyPr/>
        <a:lstStyle/>
        <a:p>
          <a:endParaRPr lang="en-US"/>
        </a:p>
      </dgm:t>
    </dgm:pt>
    <dgm:pt modelId="{ADE4B95B-B638-4981-B7C3-7E87465DA6A7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Description: “…”</a:t>
          </a:r>
          <a:endParaRPr lang="en-US" dirty="0"/>
        </a:p>
      </dgm:t>
    </dgm:pt>
    <dgm:pt modelId="{22F07A7F-E8F9-44A3-A488-12E065AC08EA}" type="parTrans" cxnId="{07DF8BFC-B2F5-4548-9543-C5761D837880}">
      <dgm:prSet/>
      <dgm:spPr/>
      <dgm:t>
        <a:bodyPr/>
        <a:lstStyle/>
        <a:p>
          <a:endParaRPr lang="en-US"/>
        </a:p>
      </dgm:t>
    </dgm:pt>
    <dgm:pt modelId="{EED06436-079D-4362-8234-72CB53FA7765}" type="sibTrans" cxnId="{07DF8BFC-B2F5-4548-9543-C5761D837880}">
      <dgm:prSet/>
      <dgm:spPr/>
      <dgm:t>
        <a:bodyPr/>
        <a:lstStyle/>
        <a:p>
          <a:endParaRPr lang="en-US"/>
        </a:p>
      </dgm:t>
    </dgm:pt>
    <dgm:pt modelId="{82BA05E5-E961-4C46-B508-DFB8B0AE066A}">
      <dgm:prSet phldrT="[Text]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Value: restriction or free</a:t>
          </a:r>
          <a:endParaRPr lang="en-US" dirty="0"/>
        </a:p>
      </dgm:t>
    </dgm:pt>
    <dgm:pt modelId="{C825C0F6-E63F-4C1E-A2DC-7AAA0BA4CE7D}" type="parTrans" cxnId="{5C226F27-DCDD-4AD2-8553-17FD7FCC8D31}">
      <dgm:prSet/>
      <dgm:spPr/>
      <dgm:t>
        <a:bodyPr/>
        <a:lstStyle/>
        <a:p>
          <a:endParaRPr lang="en-US"/>
        </a:p>
      </dgm:t>
    </dgm:pt>
    <dgm:pt modelId="{342B7F33-DBAB-4E9B-8663-08C5A9A4F5DC}" type="sibTrans" cxnId="{5C226F27-DCDD-4AD2-8553-17FD7FCC8D31}">
      <dgm:prSet/>
      <dgm:spPr/>
      <dgm:t>
        <a:bodyPr/>
        <a:lstStyle/>
        <a:p>
          <a:endParaRPr lang="en-US"/>
        </a:p>
      </dgm:t>
    </dgm:pt>
    <dgm:pt modelId="{09AFF02B-E683-4F92-BDA7-7BD0AC4C64FF}">
      <dgm:prSet phldrT="[Text]"/>
      <dgm:spPr/>
      <dgm:t>
        <a:bodyPr/>
        <a:lstStyle/>
        <a:p>
          <a:r>
            <a:rPr lang="en-US" dirty="0" smtClean="0"/>
            <a:t>Cabin</a:t>
          </a:r>
          <a:endParaRPr lang="en-US" dirty="0"/>
        </a:p>
      </dgm:t>
    </dgm:pt>
    <dgm:pt modelId="{F56EE1ED-A2DC-4D4F-87A3-5EE30A57AB9A}" type="parTrans" cxnId="{EC60430D-CF1F-4F7D-A05F-CE8B0F3689DC}">
      <dgm:prSet/>
      <dgm:spPr/>
      <dgm:t>
        <a:bodyPr/>
        <a:lstStyle/>
        <a:p>
          <a:endParaRPr lang="en-US"/>
        </a:p>
      </dgm:t>
    </dgm:pt>
    <dgm:pt modelId="{15B75840-A40B-475D-B26F-BD65328F96B0}" type="sibTrans" cxnId="{EC60430D-CF1F-4F7D-A05F-CE8B0F3689DC}">
      <dgm:prSet/>
      <dgm:spPr/>
      <dgm:t>
        <a:bodyPr/>
        <a:lstStyle/>
        <a:p>
          <a:endParaRPr lang="en-US"/>
        </a:p>
      </dgm:t>
    </dgm:pt>
    <dgm:pt modelId="{0CD029D3-91CF-498E-91A4-2D6B4FE879A8}">
      <dgm:prSet phldrT="[Text]"/>
      <dgm:spPr/>
      <dgm:t>
        <a:bodyPr/>
        <a:lstStyle/>
        <a:p>
          <a:r>
            <a:rPr lang="en-US" dirty="0" smtClean="0"/>
            <a:t>Chassis</a:t>
          </a:r>
          <a:endParaRPr lang="en-US" dirty="0"/>
        </a:p>
      </dgm:t>
    </dgm:pt>
    <dgm:pt modelId="{5EE5739B-38BE-46E1-A8CD-614D5E3A3989}" type="parTrans" cxnId="{675FF844-7B14-4B5A-9C42-FCF18BA10B2A}">
      <dgm:prSet/>
      <dgm:spPr/>
      <dgm:t>
        <a:bodyPr/>
        <a:lstStyle/>
        <a:p>
          <a:endParaRPr lang="en-US"/>
        </a:p>
      </dgm:t>
    </dgm:pt>
    <dgm:pt modelId="{AF16EB81-4CCB-4EB1-BAE8-44CEFCA51191}" type="sibTrans" cxnId="{675FF844-7B14-4B5A-9C42-FCF18BA10B2A}">
      <dgm:prSet/>
      <dgm:spPr/>
      <dgm:t>
        <a:bodyPr/>
        <a:lstStyle/>
        <a:p>
          <a:endParaRPr lang="en-US"/>
        </a:p>
      </dgm:t>
    </dgm:pt>
    <dgm:pt modelId="{60C9395B-6613-47A4-AB3D-AC56BCE2DF0E}">
      <dgm:prSet phldrT="[Text]"/>
      <dgm:spPr/>
      <dgm:t>
        <a:bodyPr/>
        <a:lstStyle/>
        <a:p>
          <a:r>
            <a:rPr lang="en-US" dirty="0" smtClean="0"/>
            <a:t>Drivetrain</a:t>
          </a:r>
          <a:endParaRPr lang="en-US" dirty="0"/>
        </a:p>
      </dgm:t>
    </dgm:pt>
    <dgm:pt modelId="{BB3EFC77-3600-4C74-BABF-0B2BFB858476}" type="parTrans" cxnId="{C8C127E1-9691-4DAD-BE95-7E8AEF1D48D1}">
      <dgm:prSet/>
      <dgm:spPr/>
      <dgm:t>
        <a:bodyPr/>
        <a:lstStyle/>
        <a:p>
          <a:endParaRPr lang="en-US"/>
        </a:p>
      </dgm:t>
    </dgm:pt>
    <dgm:pt modelId="{3A0A5D31-7831-4504-B238-15DFE5BF9A15}" type="sibTrans" cxnId="{C8C127E1-9691-4DAD-BE95-7E8AEF1D48D1}">
      <dgm:prSet/>
      <dgm:spPr/>
      <dgm:t>
        <a:bodyPr/>
        <a:lstStyle/>
        <a:p>
          <a:endParaRPr lang="en-US"/>
        </a:p>
      </dgm:t>
    </dgm:pt>
    <dgm:pt modelId="{AA19186D-761A-452B-9E25-197BC8A35BE1}">
      <dgm:prSet phldrT="[Text]"/>
      <dgm:spPr/>
      <dgm:t>
        <a:bodyPr/>
        <a:lstStyle/>
        <a:p>
          <a:r>
            <a:rPr lang="en-US" dirty="0" smtClean="0"/>
            <a:t>OBD</a:t>
          </a:r>
          <a:endParaRPr lang="en-US" dirty="0"/>
        </a:p>
      </dgm:t>
    </dgm:pt>
    <dgm:pt modelId="{EE2E2D29-FB7D-4F76-A308-02DF1BFF1800}" type="parTrans" cxnId="{882E31CF-3739-4FA1-A715-F28315305264}">
      <dgm:prSet/>
      <dgm:spPr/>
      <dgm:t>
        <a:bodyPr/>
        <a:lstStyle/>
        <a:p>
          <a:endParaRPr lang="en-US"/>
        </a:p>
      </dgm:t>
    </dgm:pt>
    <dgm:pt modelId="{CC728D5B-7927-4685-AD9D-DBA8610A040F}" type="sibTrans" cxnId="{882E31CF-3739-4FA1-A715-F28315305264}">
      <dgm:prSet/>
      <dgm:spPr/>
      <dgm:t>
        <a:bodyPr/>
        <a:lstStyle/>
        <a:p>
          <a:endParaRPr lang="en-US"/>
        </a:p>
      </dgm:t>
    </dgm:pt>
    <dgm:pt modelId="{E790BAEE-7805-449F-9DFB-03188C4AC003}">
      <dgm:prSet phldrT="[Text]"/>
      <dgm:spPr/>
      <dgm:t>
        <a:bodyPr/>
        <a:lstStyle/>
        <a:p>
          <a:r>
            <a:rPr lang="en-US" dirty="0" smtClean="0"/>
            <a:t>Vehicle</a:t>
          </a:r>
          <a:endParaRPr lang="en-US" dirty="0"/>
        </a:p>
      </dgm:t>
    </dgm:pt>
    <dgm:pt modelId="{396C3C0C-4AE1-4629-AC04-C31D35CE4B53}" type="parTrans" cxnId="{0E4491C4-23E7-45A3-8B6B-47617224FFE1}">
      <dgm:prSet/>
      <dgm:spPr/>
      <dgm:t>
        <a:bodyPr/>
        <a:lstStyle/>
        <a:p>
          <a:endParaRPr lang="en-US"/>
        </a:p>
      </dgm:t>
    </dgm:pt>
    <dgm:pt modelId="{8FBBA0A6-C35B-44EE-9CF8-43FBA9A60BD4}" type="sibTrans" cxnId="{0E4491C4-23E7-45A3-8B6B-47617224FFE1}">
      <dgm:prSet/>
      <dgm:spPr/>
      <dgm:t>
        <a:bodyPr/>
        <a:lstStyle/>
        <a:p>
          <a:endParaRPr lang="en-US"/>
        </a:p>
      </dgm:t>
    </dgm:pt>
    <dgm:pt modelId="{6EFCD551-C308-4375-A2D3-F8700F47AAD9}">
      <dgm:prSet phldrT="[Text]">
        <dgm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n-US" dirty="0" smtClean="0"/>
            <a:t>Weight</a:t>
          </a:r>
          <a:endParaRPr lang="en-US" dirty="0"/>
        </a:p>
      </dgm:t>
    </dgm:pt>
    <dgm:pt modelId="{E55410AC-C99A-415F-8785-E742BFBA33ED}" type="parTrans" cxnId="{D0015DB1-BDD1-4B8F-A2BC-070FF9C83268}">
      <dgm:prSet/>
      <dgm:spPr/>
      <dgm:t>
        <a:bodyPr/>
        <a:lstStyle/>
        <a:p>
          <a:endParaRPr lang="en-US"/>
        </a:p>
      </dgm:t>
    </dgm:pt>
    <dgm:pt modelId="{44AAB49B-5920-4530-BCA3-2043C0DF31BE}" type="sibTrans" cxnId="{D0015DB1-BDD1-4B8F-A2BC-070FF9C83268}">
      <dgm:prSet/>
      <dgm:spPr/>
      <dgm:t>
        <a:bodyPr/>
        <a:lstStyle/>
        <a:p>
          <a:endParaRPr lang="en-US"/>
        </a:p>
      </dgm:t>
    </dgm:pt>
    <dgm:pt modelId="{06605392-C14F-4ECE-A61E-3ADB9B41B7B2}" type="pres">
      <dgm:prSet presAssocID="{CB72E05C-401E-41F9-A209-8AEF2D276BD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C24D612-A0F5-429F-ABF4-14DB1398A66E}" type="pres">
      <dgm:prSet presAssocID="{5C944BB5-FA95-4697-A30A-C26610522946}" presName="root1" presStyleCnt="0"/>
      <dgm:spPr/>
    </dgm:pt>
    <dgm:pt modelId="{B29BD9B5-B446-43E6-B7D1-7628E9A86371}" type="pres">
      <dgm:prSet presAssocID="{5C944BB5-FA95-4697-A30A-C26610522946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44D8F24-5E7A-46A9-B737-B76078889F21}" type="pres">
      <dgm:prSet presAssocID="{5C944BB5-FA95-4697-A30A-C26610522946}" presName="level2hierChild" presStyleCnt="0"/>
      <dgm:spPr/>
    </dgm:pt>
    <dgm:pt modelId="{313A9F36-111B-4408-8C13-325CD731C95B}" type="pres">
      <dgm:prSet presAssocID="{A73902B5-6A97-4F4C-AE5B-385720AB3F42}" presName="conn2-1" presStyleLbl="parChTrans1D2" presStyleIdx="0" presStyleCnt="7"/>
      <dgm:spPr/>
      <dgm:t>
        <a:bodyPr/>
        <a:lstStyle/>
        <a:p>
          <a:endParaRPr lang="en-US"/>
        </a:p>
      </dgm:t>
    </dgm:pt>
    <dgm:pt modelId="{3449EE20-CEEC-4FEA-97FF-819E4AAD2F53}" type="pres">
      <dgm:prSet presAssocID="{A73902B5-6A97-4F4C-AE5B-385720AB3F42}" presName="connTx" presStyleLbl="parChTrans1D2" presStyleIdx="0" presStyleCnt="7"/>
      <dgm:spPr/>
      <dgm:t>
        <a:bodyPr/>
        <a:lstStyle/>
        <a:p>
          <a:endParaRPr lang="en-US"/>
        </a:p>
      </dgm:t>
    </dgm:pt>
    <dgm:pt modelId="{EB4F55B3-147D-493D-8345-869E29464392}" type="pres">
      <dgm:prSet presAssocID="{AF613442-0BD9-46ED-AC95-4CABA8D66911}" presName="root2" presStyleCnt="0"/>
      <dgm:spPr/>
    </dgm:pt>
    <dgm:pt modelId="{05949F13-62F3-4FB4-B509-C9BF9DC0EE43}" type="pres">
      <dgm:prSet presAssocID="{AF613442-0BD9-46ED-AC95-4CABA8D66911}" presName="LevelTwoTextNode" presStyleLbl="node2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AA0618F-2785-427D-9EC9-9A2ED7D13553}" type="pres">
      <dgm:prSet presAssocID="{AF613442-0BD9-46ED-AC95-4CABA8D66911}" presName="level3hierChild" presStyleCnt="0"/>
      <dgm:spPr/>
    </dgm:pt>
    <dgm:pt modelId="{6A6F1CB7-84B8-4C7B-BDD3-5B58F77F88A8}" type="pres">
      <dgm:prSet presAssocID="{E55410AC-C99A-415F-8785-E742BFBA33ED}" presName="conn2-1" presStyleLbl="parChTrans1D3" presStyleIdx="0" presStyleCnt="2"/>
      <dgm:spPr/>
      <dgm:t>
        <a:bodyPr/>
        <a:lstStyle/>
        <a:p>
          <a:endParaRPr lang="en-US"/>
        </a:p>
      </dgm:t>
    </dgm:pt>
    <dgm:pt modelId="{4B850253-AED9-4DF2-A992-5F586AF26B61}" type="pres">
      <dgm:prSet presAssocID="{E55410AC-C99A-415F-8785-E742BFBA33ED}" presName="connTx" presStyleLbl="parChTrans1D3" presStyleIdx="0" presStyleCnt="2"/>
      <dgm:spPr/>
      <dgm:t>
        <a:bodyPr/>
        <a:lstStyle/>
        <a:p>
          <a:endParaRPr lang="en-US"/>
        </a:p>
      </dgm:t>
    </dgm:pt>
    <dgm:pt modelId="{6BCBC44C-8EF3-4F2E-BEDC-E34E26B46253}" type="pres">
      <dgm:prSet presAssocID="{6EFCD551-C308-4375-A2D3-F8700F47AAD9}" presName="root2" presStyleCnt="0"/>
      <dgm:spPr/>
    </dgm:pt>
    <dgm:pt modelId="{98636BD4-AB27-44DA-BBE2-C3CEB98689A0}" type="pres">
      <dgm:prSet presAssocID="{6EFCD551-C308-4375-A2D3-F8700F47AAD9}" presName="LevelTwoTextNode" presStyleLbl="node3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BD65063-E2CD-4552-8B00-6D2C7910E2D1}" type="pres">
      <dgm:prSet presAssocID="{6EFCD551-C308-4375-A2D3-F8700F47AAD9}" presName="level3hierChild" presStyleCnt="0"/>
      <dgm:spPr/>
    </dgm:pt>
    <dgm:pt modelId="{A5E66EB8-4B43-4E85-A186-D937854DCAFE}" type="pres">
      <dgm:prSet presAssocID="{EE89FB3A-6C0A-479D-931A-6FE3BE42BF38}" presName="conn2-1" presStyleLbl="parChTrans1D3" presStyleIdx="1" presStyleCnt="2"/>
      <dgm:spPr/>
      <dgm:t>
        <a:bodyPr/>
        <a:lstStyle/>
        <a:p>
          <a:endParaRPr lang="en-US"/>
        </a:p>
      </dgm:t>
    </dgm:pt>
    <dgm:pt modelId="{FBC250B6-7D16-441F-ADAE-31A58E3228CE}" type="pres">
      <dgm:prSet presAssocID="{EE89FB3A-6C0A-479D-931A-6FE3BE42BF38}" presName="connTx" presStyleLbl="parChTrans1D3" presStyleIdx="1" presStyleCnt="2"/>
      <dgm:spPr/>
      <dgm:t>
        <a:bodyPr/>
        <a:lstStyle/>
        <a:p>
          <a:endParaRPr lang="en-US"/>
        </a:p>
      </dgm:t>
    </dgm:pt>
    <dgm:pt modelId="{6E97F388-8E55-4538-91F0-570A1A63EAD5}" type="pres">
      <dgm:prSet presAssocID="{8BF79C3E-1FA2-4D14-A57C-CCDEB809B8E3}" presName="root2" presStyleCnt="0"/>
      <dgm:spPr/>
    </dgm:pt>
    <dgm:pt modelId="{D2AF2FA8-5A70-4160-A0E0-16E025A39C3D}" type="pres">
      <dgm:prSet presAssocID="{8BF79C3E-1FA2-4D14-A57C-CCDEB809B8E3}" presName="LevelTwoTextNode" presStyleLbl="node3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6C2A4DF-705B-4B54-AF9C-444051694147}" type="pres">
      <dgm:prSet presAssocID="{8BF79C3E-1FA2-4D14-A57C-CCDEB809B8E3}" presName="level3hierChild" presStyleCnt="0"/>
      <dgm:spPr/>
    </dgm:pt>
    <dgm:pt modelId="{F754FB1D-6E01-4228-99F6-C61F026C48A3}" type="pres">
      <dgm:prSet presAssocID="{7CD510D4-C21A-42C7-81DE-9100CDF1D1E5}" presName="conn2-1" presStyleLbl="parChTrans1D4" presStyleIdx="0" presStyleCnt="5"/>
      <dgm:spPr/>
      <dgm:t>
        <a:bodyPr/>
        <a:lstStyle/>
        <a:p>
          <a:endParaRPr lang="en-US"/>
        </a:p>
      </dgm:t>
    </dgm:pt>
    <dgm:pt modelId="{C4DAA021-91B5-4400-8ACE-EED941B95C5C}" type="pres">
      <dgm:prSet presAssocID="{7CD510D4-C21A-42C7-81DE-9100CDF1D1E5}" presName="connTx" presStyleLbl="parChTrans1D4" presStyleIdx="0" presStyleCnt="5"/>
      <dgm:spPr/>
      <dgm:t>
        <a:bodyPr/>
        <a:lstStyle/>
        <a:p>
          <a:endParaRPr lang="en-US"/>
        </a:p>
      </dgm:t>
    </dgm:pt>
    <dgm:pt modelId="{506FD0F3-EEDE-4396-A696-56C4ED159950}" type="pres">
      <dgm:prSet presAssocID="{9AABEDD2-3312-4569-BE4E-2C6B7E58126B}" presName="root2" presStyleCnt="0"/>
      <dgm:spPr/>
    </dgm:pt>
    <dgm:pt modelId="{DE4225F7-D1CC-48FF-9F4F-069CE45BF482}" type="pres">
      <dgm:prSet presAssocID="{9AABEDD2-3312-4569-BE4E-2C6B7E58126B}" presName="LevelTwoTextNode" presStyleLbl="node4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D4D2D0A-C537-4F5D-8943-397932125B43}" type="pres">
      <dgm:prSet presAssocID="{9AABEDD2-3312-4569-BE4E-2C6B7E58126B}" presName="level3hierChild" presStyleCnt="0"/>
      <dgm:spPr/>
    </dgm:pt>
    <dgm:pt modelId="{8ECD308B-7AAB-4C85-A50C-B0B7A8F13B22}" type="pres">
      <dgm:prSet presAssocID="{42A842DC-9E90-4C33-A3E7-6402F45B3D61}" presName="conn2-1" presStyleLbl="parChTrans1D4" presStyleIdx="1" presStyleCnt="5"/>
      <dgm:spPr/>
      <dgm:t>
        <a:bodyPr/>
        <a:lstStyle/>
        <a:p>
          <a:endParaRPr lang="en-US"/>
        </a:p>
      </dgm:t>
    </dgm:pt>
    <dgm:pt modelId="{3D3F26E2-1B5A-4F53-964E-0C9B7A176E3C}" type="pres">
      <dgm:prSet presAssocID="{42A842DC-9E90-4C33-A3E7-6402F45B3D61}" presName="connTx" presStyleLbl="parChTrans1D4" presStyleIdx="1" presStyleCnt="5"/>
      <dgm:spPr/>
      <dgm:t>
        <a:bodyPr/>
        <a:lstStyle/>
        <a:p>
          <a:endParaRPr lang="en-US"/>
        </a:p>
      </dgm:t>
    </dgm:pt>
    <dgm:pt modelId="{5BCA5FFF-9D64-477F-A790-B4F44BDC36B4}" type="pres">
      <dgm:prSet presAssocID="{C09877EB-2D6B-4481-B76F-18167CB0BE6F}" presName="root2" presStyleCnt="0"/>
      <dgm:spPr/>
    </dgm:pt>
    <dgm:pt modelId="{EDDFBDDB-CA5A-48E6-9D15-B84F0FEC47A5}" type="pres">
      <dgm:prSet presAssocID="{C09877EB-2D6B-4481-B76F-18167CB0BE6F}" presName="LevelTwoTextNode" presStyleLbl="node4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3D0AB88-F046-4BBC-8224-A82CF3818207}" type="pres">
      <dgm:prSet presAssocID="{C09877EB-2D6B-4481-B76F-18167CB0BE6F}" presName="level3hierChild" presStyleCnt="0"/>
      <dgm:spPr/>
    </dgm:pt>
    <dgm:pt modelId="{EDDD4B04-4FE5-4D4E-B2AD-7C173781E94D}" type="pres">
      <dgm:prSet presAssocID="{92607C20-AF5E-4446-81BD-49A81DC40596}" presName="conn2-1" presStyleLbl="parChTrans1D4" presStyleIdx="2" presStyleCnt="5"/>
      <dgm:spPr/>
      <dgm:t>
        <a:bodyPr/>
        <a:lstStyle/>
        <a:p>
          <a:endParaRPr lang="en-US"/>
        </a:p>
      </dgm:t>
    </dgm:pt>
    <dgm:pt modelId="{048D0AA5-3415-421B-B774-39B49734811F}" type="pres">
      <dgm:prSet presAssocID="{92607C20-AF5E-4446-81BD-49A81DC40596}" presName="connTx" presStyleLbl="parChTrans1D4" presStyleIdx="2" presStyleCnt="5"/>
      <dgm:spPr/>
      <dgm:t>
        <a:bodyPr/>
        <a:lstStyle/>
        <a:p>
          <a:endParaRPr lang="en-US"/>
        </a:p>
      </dgm:t>
    </dgm:pt>
    <dgm:pt modelId="{91DCBD9F-DBDF-4B21-9773-13D85FCA8583}" type="pres">
      <dgm:prSet presAssocID="{38C73773-B1B9-4D46-AA0C-F711FB3D19F1}" presName="root2" presStyleCnt="0"/>
      <dgm:spPr/>
    </dgm:pt>
    <dgm:pt modelId="{AB603FEE-3208-4FA5-854A-A077B2FDFFF7}" type="pres">
      <dgm:prSet presAssocID="{38C73773-B1B9-4D46-AA0C-F711FB3D19F1}" presName="LevelTwoTextNode" presStyleLbl="node4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4F517EF-820D-403B-B3F5-7D3032BB4DAE}" type="pres">
      <dgm:prSet presAssocID="{38C73773-B1B9-4D46-AA0C-F711FB3D19F1}" presName="level3hierChild" presStyleCnt="0"/>
      <dgm:spPr/>
    </dgm:pt>
    <dgm:pt modelId="{4DFD3A24-F5B6-4A0E-A196-D29DF883BA24}" type="pres">
      <dgm:prSet presAssocID="{22F07A7F-E8F9-44A3-A488-12E065AC08EA}" presName="conn2-1" presStyleLbl="parChTrans1D4" presStyleIdx="3" presStyleCnt="5"/>
      <dgm:spPr/>
      <dgm:t>
        <a:bodyPr/>
        <a:lstStyle/>
        <a:p>
          <a:endParaRPr lang="en-US"/>
        </a:p>
      </dgm:t>
    </dgm:pt>
    <dgm:pt modelId="{9BDA8D38-95B7-4A40-A7B0-8BE2B4B6CB10}" type="pres">
      <dgm:prSet presAssocID="{22F07A7F-E8F9-44A3-A488-12E065AC08EA}" presName="connTx" presStyleLbl="parChTrans1D4" presStyleIdx="3" presStyleCnt="5"/>
      <dgm:spPr/>
      <dgm:t>
        <a:bodyPr/>
        <a:lstStyle/>
        <a:p>
          <a:endParaRPr lang="en-US"/>
        </a:p>
      </dgm:t>
    </dgm:pt>
    <dgm:pt modelId="{4D46A824-C199-40FB-AAF1-B24F6590E39E}" type="pres">
      <dgm:prSet presAssocID="{ADE4B95B-B638-4981-B7C3-7E87465DA6A7}" presName="root2" presStyleCnt="0"/>
      <dgm:spPr/>
    </dgm:pt>
    <dgm:pt modelId="{718F5C4D-5A41-4E50-BF0D-D36146603A62}" type="pres">
      <dgm:prSet presAssocID="{ADE4B95B-B638-4981-B7C3-7E87465DA6A7}" presName="LevelTwoTextNode" presStyleLbl="node4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D71146F-9992-40B4-A1F2-4E8896E2519C}" type="pres">
      <dgm:prSet presAssocID="{ADE4B95B-B638-4981-B7C3-7E87465DA6A7}" presName="level3hierChild" presStyleCnt="0"/>
      <dgm:spPr/>
    </dgm:pt>
    <dgm:pt modelId="{D1BD8B13-2A06-4F03-A666-96B7E107C7F3}" type="pres">
      <dgm:prSet presAssocID="{C825C0F6-E63F-4C1E-A2DC-7AAA0BA4CE7D}" presName="conn2-1" presStyleLbl="parChTrans1D4" presStyleIdx="4" presStyleCnt="5"/>
      <dgm:spPr/>
      <dgm:t>
        <a:bodyPr/>
        <a:lstStyle/>
        <a:p>
          <a:endParaRPr lang="en-US"/>
        </a:p>
      </dgm:t>
    </dgm:pt>
    <dgm:pt modelId="{AB1F2804-F8EB-4C2C-BE20-FE01E9E9E87B}" type="pres">
      <dgm:prSet presAssocID="{C825C0F6-E63F-4C1E-A2DC-7AAA0BA4CE7D}" presName="connTx" presStyleLbl="parChTrans1D4" presStyleIdx="4" presStyleCnt="5"/>
      <dgm:spPr/>
      <dgm:t>
        <a:bodyPr/>
        <a:lstStyle/>
        <a:p>
          <a:endParaRPr lang="en-US"/>
        </a:p>
      </dgm:t>
    </dgm:pt>
    <dgm:pt modelId="{9CA8CEE0-1042-4316-950E-35484CA139F3}" type="pres">
      <dgm:prSet presAssocID="{82BA05E5-E961-4C46-B508-DFB8B0AE066A}" presName="root2" presStyleCnt="0"/>
      <dgm:spPr/>
    </dgm:pt>
    <dgm:pt modelId="{D3E296CA-5154-4688-B45B-589EEA447826}" type="pres">
      <dgm:prSet presAssocID="{82BA05E5-E961-4C46-B508-DFB8B0AE066A}" presName="LevelTwoTextNode" presStyleLbl="node4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3DAC789-5B35-4F81-80F4-0B8312D5D5C5}" type="pres">
      <dgm:prSet presAssocID="{82BA05E5-E961-4C46-B508-DFB8B0AE066A}" presName="level3hierChild" presStyleCnt="0"/>
      <dgm:spPr/>
    </dgm:pt>
    <dgm:pt modelId="{B3B39737-1BDC-4395-994D-FABCDCF81B69}" type="pres">
      <dgm:prSet presAssocID="{4370EB74-91B5-414E-9AE7-6FAF170203F4}" presName="conn2-1" presStyleLbl="parChTrans1D2" presStyleIdx="1" presStyleCnt="7"/>
      <dgm:spPr/>
      <dgm:t>
        <a:bodyPr/>
        <a:lstStyle/>
        <a:p>
          <a:endParaRPr lang="en-US"/>
        </a:p>
      </dgm:t>
    </dgm:pt>
    <dgm:pt modelId="{D5343C1F-4867-4D1E-950C-417C429C4C54}" type="pres">
      <dgm:prSet presAssocID="{4370EB74-91B5-414E-9AE7-6FAF170203F4}" presName="connTx" presStyleLbl="parChTrans1D2" presStyleIdx="1" presStyleCnt="7"/>
      <dgm:spPr/>
      <dgm:t>
        <a:bodyPr/>
        <a:lstStyle/>
        <a:p>
          <a:endParaRPr lang="en-US"/>
        </a:p>
      </dgm:t>
    </dgm:pt>
    <dgm:pt modelId="{7B2625D8-7659-4A67-B80A-AA123017B015}" type="pres">
      <dgm:prSet presAssocID="{C22C0127-C085-4EAB-BA71-84CF6FE8E1C6}" presName="root2" presStyleCnt="0"/>
      <dgm:spPr/>
    </dgm:pt>
    <dgm:pt modelId="{EC7C50D7-A6D9-49C8-BAD9-E503CC5EA2C6}" type="pres">
      <dgm:prSet presAssocID="{C22C0127-C085-4EAB-BA71-84CF6FE8E1C6}" presName="LevelTwoTextNode" presStyleLbl="node2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1681A1B-793D-47D3-A6EF-4A7A68DEC343}" type="pres">
      <dgm:prSet presAssocID="{C22C0127-C085-4EAB-BA71-84CF6FE8E1C6}" presName="level3hierChild" presStyleCnt="0"/>
      <dgm:spPr/>
    </dgm:pt>
    <dgm:pt modelId="{D09021CE-4B50-4A51-A7FD-0B1AD1678429}" type="pres">
      <dgm:prSet presAssocID="{F56EE1ED-A2DC-4D4F-87A3-5EE30A57AB9A}" presName="conn2-1" presStyleLbl="parChTrans1D2" presStyleIdx="2" presStyleCnt="7"/>
      <dgm:spPr/>
      <dgm:t>
        <a:bodyPr/>
        <a:lstStyle/>
        <a:p>
          <a:endParaRPr lang="en-US"/>
        </a:p>
      </dgm:t>
    </dgm:pt>
    <dgm:pt modelId="{930814F5-D88E-4909-A203-F707AAAB72AE}" type="pres">
      <dgm:prSet presAssocID="{F56EE1ED-A2DC-4D4F-87A3-5EE30A57AB9A}" presName="connTx" presStyleLbl="parChTrans1D2" presStyleIdx="2" presStyleCnt="7"/>
      <dgm:spPr/>
      <dgm:t>
        <a:bodyPr/>
        <a:lstStyle/>
        <a:p>
          <a:endParaRPr lang="en-US"/>
        </a:p>
      </dgm:t>
    </dgm:pt>
    <dgm:pt modelId="{4F9526FF-1AAE-44AD-B24A-09479AAB8726}" type="pres">
      <dgm:prSet presAssocID="{09AFF02B-E683-4F92-BDA7-7BD0AC4C64FF}" presName="root2" presStyleCnt="0"/>
      <dgm:spPr/>
    </dgm:pt>
    <dgm:pt modelId="{868F4EAA-4373-402C-ADD9-2A6778958421}" type="pres">
      <dgm:prSet presAssocID="{09AFF02B-E683-4F92-BDA7-7BD0AC4C64FF}" presName="LevelTwoTextNode" presStyleLbl="node2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BB5E1D-BC2F-4632-A13F-DE2BA90290E5}" type="pres">
      <dgm:prSet presAssocID="{09AFF02B-E683-4F92-BDA7-7BD0AC4C64FF}" presName="level3hierChild" presStyleCnt="0"/>
      <dgm:spPr/>
    </dgm:pt>
    <dgm:pt modelId="{170E8B10-0A59-4A99-8518-F6D9F4D4A22A}" type="pres">
      <dgm:prSet presAssocID="{5EE5739B-38BE-46E1-A8CD-614D5E3A3989}" presName="conn2-1" presStyleLbl="parChTrans1D2" presStyleIdx="3" presStyleCnt="7"/>
      <dgm:spPr/>
      <dgm:t>
        <a:bodyPr/>
        <a:lstStyle/>
        <a:p>
          <a:endParaRPr lang="en-US"/>
        </a:p>
      </dgm:t>
    </dgm:pt>
    <dgm:pt modelId="{DE28071A-3DBA-40BD-AFA1-5BD68B1383DF}" type="pres">
      <dgm:prSet presAssocID="{5EE5739B-38BE-46E1-A8CD-614D5E3A3989}" presName="connTx" presStyleLbl="parChTrans1D2" presStyleIdx="3" presStyleCnt="7"/>
      <dgm:spPr/>
      <dgm:t>
        <a:bodyPr/>
        <a:lstStyle/>
        <a:p>
          <a:endParaRPr lang="en-US"/>
        </a:p>
      </dgm:t>
    </dgm:pt>
    <dgm:pt modelId="{49F920E5-4B78-4E86-A9C8-3114D9DCC505}" type="pres">
      <dgm:prSet presAssocID="{0CD029D3-91CF-498E-91A4-2D6B4FE879A8}" presName="root2" presStyleCnt="0"/>
      <dgm:spPr/>
    </dgm:pt>
    <dgm:pt modelId="{A2949E4D-A81D-4A07-B249-D07A2B0112F1}" type="pres">
      <dgm:prSet presAssocID="{0CD029D3-91CF-498E-91A4-2D6B4FE879A8}" presName="LevelTwoTextNode" presStyleLbl="node2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DE20493-D326-4E57-B291-8694F0E7EF54}" type="pres">
      <dgm:prSet presAssocID="{0CD029D3-91CF-498E-91A4-2D6B4FE879A8}" presName="level3hierChild" presStyleCnt="0"/>
      <dgm:spPr/>
    </dgm:pt>
    <dgm:pt modelId="{BF8BBBC6-ABCA-4EBB-93A9-C6001ABB01A6}" type="pres">
      <dgm:prSet presAssocID="{BB3EFC77-3600-4C74-BABF-0B2BFB858476}" presName="conn2-1" presStyleLbl="parChTrans1D2" presStyleIdx="4" presStyleCnt="7"/>
      <dgm:spPr/>
      <dgm:t>
        <a:bodyPr/>
        <a:lstStyle/>
        <a:p>
          <a:endParaRPr lang="en-US"/>
        </a:p>
      </dgm:t>
    </dgm:pt>
    <dgm:pt modelId="{6FC70BDB-A0E7-4587-B1A4-187BB9901286}" type="pres">
      <dgm:prSet presAssocID="{BB3EFC77-3600-4C74-BABF-0B2BFB858476}" presName="connTx" presStyleLbl="parChTrans1D2" presStyleIdx="4" presStyleCnt="7"/>
      <dgm:spPr/>
      <dgm:t>
        <a:bodyPr/>
        <a:lstStyle/>
        <a:p>
          <a:endParaRPr lang="en-US"/>
        </a:p>
      </dgm:t>
    </dgm:pt>
    <dgm:pt modelId="{022D347F-5D00-4E67-8515-77889CF89CDA}" type="pres">
      <dgm:prSet presAssocID="{60C9395B-6613-47A4-AB3D-AC56BCE2DF0E}" presName="root2" presStyleCnt="0"/>
      <dgm:spPr/>
    </dgm:pt>
    <dgm:pt modelId="{935D3211-CAC3-4AB4-9EA8-635BF67B552B}" type="pres">
      <dgm:prSet presAssocID="{60C9395B-6613-47A4-AB3D-AC56BCE2DF0E}" presName="LevelTwoTextNode" presStyleLbl="node2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9427152-8C3E-43C0-8FA4-D397217EB363}" type="pres">
      <dgm:prSet presAssocID="{60C9395B-6613-47A4-AB3D-AC56BCE2DF0E}" presName="level3hierChild" presStyleCnt="0"/>
      <dgm:spPr/>
    </dgm:pt>
    <dgm:pt modelId="{8BB0ABBD-B982-4B78-A37D-AEA2903DDD08}" type="pres">
      <dgm:prSet presAssocID="{EE2E2D29-FB7D-4F76-A308-02DF1BFF1800}" presName="conn2-1" presStyleLbl="parChTrans1D2" presStyleIdx="5" presStyleCnt="7"/>
      <dgm:spPr/>
      <dgm:t>
        <a:bodyPr/>
        <a:lstStyle/>
        <a:p>
          <a:endParaRPr lang="en-US"/>
        </a:p>
      </dgm:t>
    </dgm:pt>
    <dgm:pt modelId="{B578BF37-05BC-45C7-BBC8-C09086C008A7}" type="pres">
      <dgm:prSet presAssocID="{EE2E2D29-FB7D-4F76-A308-02DF1BFF1800}" presName="connTx" presStyleLbl="parChTrans1D2" presStyleIdx="5" presStyleCnt="7"/>
      <dgm:spPr/>
      <dgm:t>
        <a:bodyPr/>
        <a:lstStyle/>
        <a:p>
          <a:endParaRPr lang="en-US"/>
        </a:p>
      </dgm:t>
    </dgm:pt>
    <dgm:pt modelId="{167D759D-3252-47AF-B486-9A7C736F7A1F}" type="pres">
      <dgm:prSet presAssocID="{AA19186D-761A-452B-9E25-197BC8A35BE1}" presName="root2" presStyleCnt="0"/>
      <dgm:spPr/>
    </dgm:pt>
    <dgm:pt modelId="{D7D51632-0E69-4CD5-85E5-3F1EC5A05DDC}" type="pres">
      <dgm:prSet presAssocID="{AA19186D-761A-452B-9E25-197BC8A35BE1}" presName="LevelTwoTextNode" presStyleLbl="node2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5C94BF-A990-4065-BCE5-3269AB8C2DAF}" type="pres">
      <dgm:prSet presAssocID="{AA19186D-761A-452B-9E25-197BC8A35BE1}" presName="level3hierChild" presStyleCnt="0"/>
      <dgm:spPr/>
    </dgm:pt>
    <dgm:pt modelId="{1D2B3DAA-8B11-4391-9849-EB53BDC896C9}" type="pres">
      <dgm:prSet presAssocID="{396C3C0C-4AE1-4629-AC04-C31D35CE4B53}" presName="conn2-1" presStyleLbl="parChTrans1D2" presStyleIdx="6" presStyleCnt="7"/>
      <dgm:spPr/>
      <dgm:t>
        <a:bodyPr/>
        <a:lstStyle/>
        <a:p>
          <a:endParaRPr lang="en-US"/>
        </a:p>
      </dgm:t>
    </dgm:pt>
    <dgm:pt modelId="{78A94CC8-5D16-4CB6-80B3-2D300BD3D896}" type="pres">
      <dgm:prSet presAssocID="{396C3C0C-4AE1-4629-AC04-C31D35CE4B53}" presName="connTx" presStyleLbl="parChTrans1D2" presStyleIdx="6" presStyleCnt="7"/>
      <dgm:spPr/>
      <dgm:t>
        <a:bodyPr/>
        <a:lstStyle/>
        <a:p>
          <a:endParaRPr lang="en-US"/>
        </a:p>
      </dgm:t>
    </dgm:pt>
    <dgm:pt modelId="{5A7CD00B-6D85-441A-B402-3C0D165800D8}" type="pres">
      <dgm:prSet presAssocID="{E790BAEE-7805-449F-9DFB-03188C4AC003}" presName="root2" presStyleCnt="0"/>
      <dgm:spPr/>
    </dgm:pt>
    <dgm:pt modelId="{A111C5AB-C51B-4ABF-9515-19ADCC287F17}" type="pres">
      <dgm:prSet presAssocID="{E790BAEE-7805-449F-9DFB-03188C4AC003}" presName="LevelTwoTextNode" presStyleLbl="node2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D1F37CA-599C-4663-9769-379114650FF3}" type="pres">
      <dgm:prSet presAssocID="{E790BAEE-7805-449F-9DFB-03188C4AC003}" presName="level3hierChild" presStyleCnt="0"/>
      <dgm:spPr/>
    </dgm:pt>
  </dgm:ptLst>
  <dgm:cxnLst>
    <dgm:cxn modelId="{7C9D48D4-A99C-4251-96D4-ABF47DE7628F}" type="presOf" srcId="{EE89FB3A-6C0A-479D-931A-6FE3BE42BF38}" destId="{A5E66EB8-4B43-4E85-A186-D937854DCAFE}" srcOrd="0" destOrd="0" presId="urn:microsoft.com/office/officeart/2005/8/layout/hierarchy2"/>
    <dgm:cxn modelId="{07DF8BFC-B2F5-4548-9543-C5761D837880}" srcId="{9AABEDD2-3312-4569-BE4E-2C6B7E58126B}" destId="{ADE4B95B-B638-4981-B7C3-7E87465DA6A7}" srcOrd="2" destOrd="0" parTransId="{22F07A7F-E8F9-44A3-A488-12E065AC08EA}" sibTransId="{EED06436-079D-4362-8234-72CB53FA7765}"/>
    <dgm:cxn modelId="{42F68B32-6A12-4970-87B0-A5A90D59683D}" type="presOf" srcId="{4370EB74-91B5-414E-9AE7-6FAF170203F4}" destId="{D5343C1F-4867-4D1E-950C-417C429C4C54}" srcOrd="1" destOrd="0" presId="urn:microsoft.com/office/officeart/2005/8/layout/hierarchy2"/>
    <dgm:cxn modelId="{4E564E1B-48BB-4BF1-B808-A6F594387C7E}" type="presOf" srcId="{E55410AC-C99A-415F-8785-E742BFBA33ED}" destId="{6A6F1CB7-84B8-4C7B-BDD3-5B58F77F88A8}" srcOrd="0" destOrd="0" presId="urn:microsoft.com/office/officeart/2005/8/layout/hierarchy2"/>
    <dgm:cxn modelId="{3CF36516-CFBD-4CC3-A40E-D61EC672140E}" type="presOf" srcId="{6EFCD551-C308-4375-A2D3-F8700F47AAD9}" destId="{98636BD4-AB27-44DA-BBE2-C3CEB98689A0}" srcOrd="0" destOrd="0" presId="urn:microsoft.com/office/officeart/2005/8/layout/hierarchy2"/>
    <dgm:cxn modelId="{B5CF2457-86F8-4101-8D76-19720C9AFBD9}" type="presOf" srcId="{AA19186D-761A-452B-9E25-197BC8A35BE1}" destId="{D7D51632-0E69-4CD5-85E5-3F1EC5A05DDC}" srcOrd="0" destOrd="0" presId="urn:microsoft.com/office/officeart/2005/8/layout/hierarchy2"/>
    <dgm:cxn modelId="{52A49FC4-581C-4BCD-8AFF-DC8A00030E28}" type="presOf" srcId="{F56EE1ED-A2DC-4D4F-87A3-5EE30A57AB9A}" destId="{930814F5-D88E-4909-A203-F707AAAB72AE}" srcOrd="1" destOrd="0" presId="urn:microsoft.com/office/officeart/2005/8/layout/hierarchy2"/>
    <dgm:cxn modelId="{20DE4C79-EA30-4E24-AED0-9F7B51202155}" type="presOf" srcId="{09AFF02B-E683-4F92-BDA7-7BD0AC4C64FF}" destId="{868F4EAA-4373-402C-ADD9-2A6778958421}" srcOrd="0" destOrd="0" presId="urn:microsoft.com/office/officeart/2005/8/layout/hierarchy2"/>
    <dgm:cxn modelId="{1D7EEDC5-49A6-4608-995C-98FD12B83367}" type="presOf" srcId="{C825C0F6-E63F-4C1E-A2DC-7AAA0BA4CE7D}" destId="{D1BD8B13-2A06-4F03-A666-96B7E107C7F3}" srcOrd="0" destOrd="0" presId="urn:microsoft.com/office/officeart/2005/8/layout/hierarchy2"/>
    <dgm:cxn modelId="{D0015DB1-BDD1-4B8F-A2BC-070FF9C83268}" srcId="{AF613442-0BD9-46ED-AC95-4CABA8D66911}" destId="{6EFCD551-C308-4375-A2D3-F8700F47AAD9}" srcOrd="0" destOrd="0" parTransId="{E55410AC-C99A-415F-8785-E742BFBA33ED}" sibTransId="{44AAB49B-5920-4530-BCA3-2043C0DF31BE}"/>
    <dgm:cxn modelId="{EC60430D-CF1F-4F7D-A05F-CE8B0F3689DC}" srcId="{5C944BB5-FA95-4697-A30A-C26610522946}" destId="{09AFF02B-E683-4F92-BDA7-7BD0AC4C64FF}" srcOrd="2" destOrd="0" parTransId="{F56EE1ED-A2DC-4D4F-87A3-5EE30A57AB9A}" sibTransId="{15B75840-A40B-475D-B26F-BD65328F96B0}"/>
    <dgm:cxn modelId="{2960A6DB-716C-46B7-85BC-E0F0FF4C40AB}" srcId="{AF613442-0BD9-46ED-AC95-4CABA8D66911}" destId="{8BF79C3E-1FA2-4D14-A57C-CCDEB809B8E3}" srcOrd="1" destOrd="0" parTransId="{EE89FB3A-6C0A-479D-931A-6FE3BE42BF38}" sibTransId="{82FE7008-BF48-4944-AE08-EE467311B2F0}"/>
    <dgm:cxn modelId="{BB2F705C-E17E-41DE-B76E-548181195BC4}" type="presOf" srcId="{92607C20-AF5E-4446-81BD-49A81DC40596}" destId="{048D0AA5-3415-421B-B774-39B49734811F}" srcOrd="1" destOrd="0" presId="urn:microsoft.com/office/officeart/2005/8/layout/hierarchy2"/>
    <dgm:cxn modelId="{6AD60417-A0BE-4739-8FE1-ECDFB3FE468B}" type="presOf" srcId="{BB3EFC77-3600-4C74-BABF-0B2BFB858476}" destId="{BF8BBBC6-ABCA-4EBB-93A9-C6001ABB01A6}" srcOrd="0" destOrd="0" presId="urn:microsoft.com/office/officeart/2005/8/layout/hierarchy2"/>
    <dgm:cxn modelId="{62639D3E-DE6A-4460-AF16-1407AEA90686}" type="presOf" srcId="{0CD029D3-91CF-498E-91A4-2D6B4FE879A8}" destId="{A2949E4D-A81D-4A07-B249-D07A2B0112F1}" srcOrd="0" destOrd="0" presId="urn:microsoft.com/office/officeart/2005/8/layout/hierarchy2"/>
    <dgm:cxn modelId="{06E5F7A0-6657-4F8A-BC67-50252BEF4DFA}" type="presOf" srcId="{EE2E2D29-FB7D-4F76-A308-02DF1BFF1800}" destId="{8BB0ABBD-B982-4B78-A37D-AEA2903DDD08}" srcOrd="0" destOrd="0" presId="urn:microsoft.com/office/officeart/2005/8/layout/hierarchy2"/>
    <dgm:cxn modelId="{882E31CF-3739-4FA1-A715-F28315305264}" srcId="{5C944BB5-FA95-4697-A30A-C26610522946}" destId="{AA19186D-761A-452B-9E25-197BC8A35BE1}" srcOrd="5" destOrd="0" parTransId="{EE2E2D29-FB7D-4F76-A308-02DF1BFF1800}" sibTransId="{CC728D5B-7927-4685-AD9D-DBA8610A040F}"/>
    <dgm:cxn modelId="{40ED8AA5-B6D4-4AE5-9669-B9CF688FF9C1}" type="presOf" srcId="{82BA05E5-E961-4C46-B508-DFB8B0AE066A}" destId="{D3E296CA-5154-4688-B45B-589EEA447826}" srcOrd="0" destOrd="0" presId="urn:microsoft.com/office/officeart/2005/8/layout/hierarchy2"/>
    <dgm:cxn modelId="{2AD5E862-2219-4C1E-8D9B-A9C7935EBB8D}" srcId="{8BF79C3E-1FA2-4D14-A57C-CCDEB809B8E3}" destId="{9AABEDD2-3312-4569-BE4E-2C6B7E58126B}" srcOrd="0" destOrd="0" parTransId="{7CD510D4-C21A-42C7-81DE-9100CDF1D1E5}" sibTransId="{565AB837-D2F6-4E2D-845F-A2801D2BD066}"/>
    <dgm:cxn modelId="{0274280D-FBAD-496F-B345-6BC685308E99}" srcId="{5C944BB5-FA95-4697-A30A-C26610522946}" destId="{C22C0127-C085-4EAB-BA71-84CF6FE8E1C6}" srcOrd="1" destOrd="0" parTransId="{4370EB74-91B5-414E-9AE7-6FAF170203F4}" sibTransId="{8F3E5848-8614-42D3-8631-3C52CD9D7FE3}"/>
    <dgm:cxn modelId="{9BCA43D5-63A9-44CC-9251-31182B37EB8A}" type="presOf" srcId="{CB72E05C-401E-41F9-A209-8AEF2D276BDC}" destId="{06605392-C14F-4ECE-A61E-3ADB9B41B7B2}" srcOrd="0" destOrd="0" presId="urn:microsoft.com/office/officeart/2005/8/layout/hierarchy2"/>
    <dgm:cxn modelId="{7BEC35BD-F3F8-4EF5-AB57-D01BBF609D75}" type="presOf" srcId="{8BF79C3E-1FA2-4D14-A57C-CCDEB809B8E3}" destId="{D2AF2FA8-5A70-4160-A0E0-16E025A39C3D}" srcOrd="0" destOrd="0" presId="urn:microsoft.com/office/officeart/2005/8/layout/hierarchy2"/>
    <dgm:cxn modelId="{C8C127E1-9691-4DAD-BE95-7E8AEF1D48D1}" srcId="{5C944BB5-FA95-4697-A30A-C26610522946}" destId="{60C9395B-6613-47A4-AB3D-AC56BCE2DF0E}" srcOrd="4" destOrd="0" parTransId="{BB3EFC77-3600-4C74-BABF-0B2BFB858476}" sibTransId="{3A0A5D31-7831-4504-B238-15DFE5BF9A15}"/>
    <dgm:cxn modelId="{8C6080CB-BB02-45BA-8365-7B83057956F4}" type="presOf" srcId="{E55410AC-C99A-415F-8785-E742BFBA33ED}" destId="{4B850253-AED9-4DF2-A992-5F586AF26B61}" srcOrd="1" destOrd="0" presId="urn:microsoft.com/office/officeart/2005/8/layout/hierarchy2"/>
    <dgm:cxn modelId="{E5FE467E-59EF-4330-B1DF-B45C5445E346}" type="presOf" srcId="{7CD510D4-C21A-42C7-81DE-9100CDF1D1E5}" destId="{F754FB1D-6E01-4228-99F6-C61F026C48A3}" srcOrd="0" destOrd="0" presId="urn:microsoft.com/office/officeart/2005/8/layout/hierarchy2"/>
    <dgm:cxn modelId="{F2B8440B-6BED-4589-A17D-B0533896EF82}" type="presOf" srcId="{E790BAEE-7805-449F-9DFB-03188C4AC003}" destId="{A111C5AB-C51B-4ABF-9515-19ADCC287F17}" srcOrd="0" destOrd="0" presId="urn:microsoft.com/office/officeart/2005/8/layout/hierarchy2"/>
    <dgm:cxn modelId="{D41A59C7-1B00-41A8-AA89-CD6A3A3F511A}" type="presOf" srcId="{A73902B5-6A97-4F4C-AE5B-385720AB3F42}" destId="{3449EE20-CEEC-4FEA-97FF-819E4AAD2F53}" srcOrd="1" destOrd="0" presId="urn:microsoft.com/office/officeart/2005/8/layout/hierarchy2"/>
    <dgm:cxn modelId="{675FF844-7B14-4B5A-9C42-FCF18BA10B2A}" srcId="{5C944BB5-FA95-4697-A30A-C26610522946}" destId="{0CD029D3-91CF-498E-91A4-2D6B4FE879A8}" srcOrd="3" destOrd="0" parTransId="{5EE5739B-38BE-46E1-A8CD-614D5E3A3989}" sibTransId="{AF16EB81-4CCB-4EB1-BAE8-44CEFCA51191}"/>
    <dgm:cxn modelId="{00DCC8D8-F30A-4335-9F11-9659352B6433}" type="presOf" srcId="{9AABEDD2-3312-4569-BE4E-2C6B7E58126B}" destId="{DE4225F7-D1CC-48FF-9F4F-069CE45BF482}" srcOrd="0" destOrd="0" presId="urn:microsoft.com/office/officeart/2005/8/layout/hierarchy2"/>
    <dgm:cxn modelId="{0E4491C4-23E7-45A3-8B6B-47617224FFE1}" srcId="{5C944BB5-FA95-4697-A30A-C26610522946}" destId="{E790BAEE-7805-449F-9DFB-03188C4AC003}" srcOrd="6" destOrd="0" parTransId="{396C3C0C-4AE1-4629-AC04-C31D35CE4B53}" sibTransId="{8FBBA0A6-C35B-44EE-9CF8-43FBA9A60BD4}"/>
    <dgm:cxn modelId="{8FDBFFD6-2E3C-451B-BBC3-C126826F50A6}" type="presOf" srcId="{22F07A7F-E8F9-44A3-A488-12E065AC08EA}" destId="{4DFD3A24-F5B6-4A0E-A196-D29DF883BA24}" srcOrd="0" destOrd="0" presId="urn:microsoft.com/office/officeart/2005/8/layout/hierarchy2"/>
    <dgm:cxn modelId="{D00BE326-D1FD-4C56-B8F8-C277C1647026}" srcId="{9AABEDD2-3312-4569-BE4E-2C6B7E58126B}" destId="{38C73773-B1B9-4D46-AA0C-F711FB3D19F1}" srcOrd="1" destOrd="0" parTransId="{92607C20-AF5E-4446-81BD-49A81DC40596}" sibTransId="{0AA8740C-00D3-48B3-8785-2479CDFB0644}"/>
    <dgm:cxn modelId="{47B9CBB6-339D-48A2-876B-D474C0EBF94A}" type="presOf" srcId="{42A842DC-9E90-4C33-A3E7-6402F45B3D61}" destId="{8ECD308B-7AAB-4C85-A50C-B0B7A8F13B22}" srcOrd="0" destOrd="0" presId="urn:microsoft.com/office/officeart/2005/8/layout/hierarchy2"/>
    <dgm:cxn modelId="{EC980A3A-EC3A-4197-9AE1-0B6B62989ECE}" type="presOf" srcId="{A73902B5-6A97-4F4C-AE5B-385720AB3F42}" destId="{313A9F36-111B-4408-8C13-325CD731C95B}" srcOrd="0" destOrd="0" presId="urn:microsoft.com/office/officeart/2005/8/layout/hierarchy2"/>
    <dgm:cxn modelId="{3FB6B30E-E35B-4361-A2B5-E574C38BAB9B}" type="presOf" srcId="{EE2E2D29-FB7D-4F76-A308-02DF1BFF1800}" destId="{B578BF37-05BC-45C7-BBC8-C09086C008A7}" srcOrd="1" destOrd="0" presId="urn:microsoft.com/office/officeart/2005/8/layout/hierarchy2"/>
    <dgm:cxn modelId="{1995F7A8-A06F-4A27-AA02-9161D7EDE26A}" type="presOf" srcId="{60C9395B-6613-47A4-AB3D-AC56BCE2DF0E}" destId="{935D3211-CAC3-4AB4-9EA8-635BF67B552B}" srcOrd="0" destOrd="0" presId="urn:microsoft.com/office/officeart/2005/8/layout/hierarchy2"/>
    <dgm:cxn modelId="{368EAD34-82A2-4818-A36F-255349045E60}" type="presOf" srcId="{396C3C0C-4AE1-4629-AC04-C31D35CE4B53}" destId="{1D2B3DAA-8B11-4391-9849-EB53BDC896C9}" srcOrd="0" destOrd="0" presId="urn:microsoft.com/office/officeart/2005/8/layout/hierarchy2"/>
    <dgm:cxn modelId="{8BF49B2E-CC27-40A0-9597-516038627BC5}" type="presOf" srcId="{C825C0F6-E63F-4C1E-A2DC-7AAA0BA4CE7D}" destId="{AB1F2804-F8EB-4C2C-BE20-FE01E9E9E87B}" srcOrd="1" destOrd="0" presId="urn:microsoft.com/office/officeart/2005/8/layout/hierarchy2"/>
    <dgm:cxn modelId="{76910D55-5114-42F1-B22F-CCE83970A0A8}" type="presOf" srcId="{42A842DC-9E90-4C33-A3E7-6402F45B3D61}" destId="{3D3F26E2-1B5A-4F53-964E-0C9B7A176E3C}" srcOrd="1" destOrd="0" presId="urn:microsoft.com/office/officeart/2005/8/layout/hierarchy2"/>
    <dgm:cxn modelId="{4C9EB887-19D1-468B-AC71-27F6223FB50F}" type="presOf" srcId="{5C944BB5-FA95-4697-A30A-C26610522946}" destId="{B29BD9B5-B446-43E6-B7D1-7628E9A86371}" srcOrd="0" destOrd="0" presId="urn:microsoft.com/office/officeart/2005/8/layout/hierarchy2"/>
    <dgm:cxn modelId="{415CDADA-9B32-4D3B-9E3C-54C93E39D7B3}" type="presOf" srcId="{92607C20-AF5E-4446-81BD-49A81DC40596}" destId="{EDDD4B04-4FE5-4D4E-B2AD-7C173781E94D}" srcOrd="0" destOrd="0" presId="urn:microsoft.com/office/officeart/2005/8/layout/hierarchy2"/>
    <dgm:cxn modelId="{58D3C8D4-CE9F-4370-99E2-9B9F90E6A553}" type="presOf" srcId="{C22C0127-C085-4EAB-BA71-84CF6FE8E1C6}" destId="{EC7C50D7-A6D9-49C8-BAD9-E503CC5EA2C6}" srcOrd="0" destOrd="0" presId="urn:microsoft.com/office/officeart/2005/8/layout/hierarchy2"/>
    <dgm:cxn modelId="{B88CEF6D-7904-4D20-9BA3-F7E9F66F0B35}" srcId="{CB72E05C-401E-41F9-A209-8AEF2D276BDC}" destId="{5C944BB5-FA95-4697-A30A-C26610522946}" srcOrd="0" destOrd="0" parTransId="{5C50D0F1-0737-4E68-B031-FE25E25E2365}" sibTransId="{207F906C-1E0C-45A1-A837-1E3CFB4E7FEB}"/>
    <dgm:cxn modelId="{4175CABF-18F9-4634-B0C2-BAA9BE2A6E44}" type="presOf" srcId="{396C3C0C-4AE1-4629-AC04-C31D35CE4B53}" destId="{78A94CC8-5D16-4CB6-80B3-2D300BD3D896}" srcOrd="1" destOrd="0" presId="urn:microsoft.com/office/officeart/2005/8/layout/hierarchy2"/>
    <dgm:cxn modelId="{B75E5F8C-707A-429A-9E17-53E78F652C14}" type="presOf" srcId="{F56EE1ED-A2DC-4D4F-87A3-5EE30A57AB9A}" destId="{D09021CE-4B50-4A51-A7FD-0B1AD1678429}" srcOrd="0" destOrd="0" presId="urn:microsoft.com/office/officeart/2005/8/layout/hierarchy2"/>
    <dgm:cxn modelId="{BEEE24CD-3D26-4CEA-B014-9D0FFA588FCA}" type="presOf" srcId="{38C73773-B1B9-4D46-AA0C-F711FB3D19F1}" destId="{AB603FEE-3208-4FA5-854A-A077B2FDFFF7}" srcOrd="0" destOrd="0" presId="urn:microsoft.com/office/officeart/2005/8/layout/hierarchy2"/>
    <dgm:cxn modelId="{DACDACC5-92D6-4CA4-9274-4F3DE737C439}" type="presOf" srcId="{C09877EB-2D6B-4481-B76F-18167CB0BE6F}" destId="{EDDFBDDB-CA5A-48E6-9D15-B84F0FEC47A5}" srcOrd="0" destOrd="0" presId="urn:microsoft.com/office/officeart/2005/8/layout/hierarchy2"/>
    <dgm:cxn modelId="{FCD7EFC5-6300-43BC-9033-8D5C6F6BF8CB}" type="presOf" srcId="{BB3EFC77-3600-4C74-BABF-0B2BFB858476}" destId="{6FC70BDB-A0E7-4587-B1A4-187BB9901286}" srcOrd="1" destOrd="0" presId="urn:microsoft.com/office/officeart/2005/8/layout/hierarchy2"/>
    <dgm:cxn modelId="{2ADCA1E8-BE64-40B9-A2D6-F48572FA4019}" type="presOf" srcId="{EE89FB3A-6C0A-479D-931A-6FE3BE42BF38}" destId="{FBC250B6-7D16-441F-ADAE-31A58E3228CE}" srcOrd="1" destOrd="0" presId="urn:microsoft.com/office/officeart/2005/8/layout/hierarchy2"/>
    <dgm:cxn modelId="{27016F39-7519-4B4A-BDA3-8DB69DE8519D}" type="presOf" srcId="{22F07A7F-E8F9-44A3-A488-12E065AC08EA}" destId="{9BDA8D38-95B7-4A40-A7B0-8BE2B4B6CB10}" srcOrd="1" destOrd="0" presId="urn:microsoft.com/office/officeart/2005/8/layout/hierarchy2"/>
    <dgm:cxn modelId="{9B76D138-5305-4E5A-A0EA-8B4DDD704BAD}" type="presOf" srcId="{5EE5739B-38BE-46E1-A8CD-614D5E3A3989}" destId="{DE28071A-3DBA-40BD-AFA1-5BD68B1383DF}" srcOrd="1" destOrd="0" presId="urn:microsoft.com/office/officeart/2005/8/layout/hierarchy2"/>
    <dgm:cxn modelId="{5C226F27-DCDD-4AD2-8553-17FD7FCC8D31}" srcId="{9AABEDD2-3312-4569-BE4E-2C6B7E58126B}" destId="{82BA05E5-E961-4C46-B508-DFB8B0AE066A}" srcOrd="3" destOrd="0" parTransId="{C825C0F6-E63F-4C1E-A2DC-7AAA0BA4CE7D}" sibTransId="{342B7F33-DBAB-4E9B-8663-08C5A9A4F5DC}"/>
    <dgm:cxn modelId="{26B91A47-52D3-4A57-8091-4BDB09B5E210}" type="presOf" srcId="{4370EB74-91B5-414E-9AE7-6FAF170203F4}" destId="{B3B39737-1BDC-4395-994D-FABCDCF81B69}" srcOrd="0" destOrd="0" presId="urn:microsoft.com/office/officeart/2005/8/layout/hierarchy2"/>
    <dgm:cxn modelId="{7BB7045A-CAA9-4DAA-9190-204F37DF5427}" srcId="{5C944BB5-FA95-4697-A30A-C26610522946}" destId="{AF613442-0BD9-46ED-AC95-4CABA8D66911}" srcOrd="0" destOrd="0" parTransId="{A73902B5-6A97-4F4C-AE5B-385720AB3F42}" sibTransId="{568F1DD1-988D-4988-808B-986AC02DD15C}"/>
    <dgm:cxn modelId="{A6BE932C-BC77-4E1B-BE06-EBD9232BFC2B}" type="presOf" srcId="{AF613442-0BD9-46ED-AC95-4CABA8D66911}" destId="{05949F13-62F3-4FB4-B509-C9BF9DC0EE43}" srcOrd="0" destOrd="0" presId="urn:microsoft.com/office/officeart/2005/8/layout/hierarchy2"/>
    <dgm:cxn modelId="{BE6B5C2C-D552-4501-808F-5BC06EE7D995}" type="presOf" srcId="{7CD510D4-C21A-42C7-81DE-9100CDF1D1E5}" destId="{C4DAA021-91B5-4400-8ACE-EED941B95C5C}" srcOrd="1" destOrd="0" presId="urn:microsoft.com/office/officeart/2005/8/layout/hierarchy2"/>
    <dgm:cxn modelId="{2D5A9681-2F55-45DD-AE1C-98EACE857625}" type="presOf" srcId="{5EE5739B-38BE-46E1-A8CD-614D5E3A3989}" destId="{170E8B10-0A59-4A99-8518-F6D9F4D4A22A}" srcOrd="0" destOrd="0" presId="urn:microsoft.com/office/officeart/2005/8/layout/hierarchy2"/>
    <dgm:cxn modelId="{CF7C1874-B69C-4B8A-B6B0-51F40E411661}" type="presOf" srcId="{ADE4B95B-B638-4981-B7C3-7E87465DA6A7}" destId="{718F5C4D-5A41-4E50-BF0D-D36146603A62}" srcOrd="0" destOrd="0" presId="urn:microsoft.com/office/officeart/2005/8/layout/hierarchy2"/>
    <dgm:cxn modelId="{BA7BF23D-43D4-4C90-B2D0-EC711E78E512}" srcId="{9AABEDD2-3312-4569-BE4E-2C6B7E58126B}" destId="{C09877EB-2D6B-4481-B76F-18167CB0BE6F}" srcOrd="0" destOrd="0" parTransId="{42A842DC-9E90-4C33-A3E7-6402F45B3D61}" sibTransId="{A119FC0F-7EFA-408B-B1F4-0C72414458FE}"/>
    <dgm:cxn modelId="{033D54B0-7353-44C0-BABE-AEDD00ED4DD2}" type="presParOf" srcId="{06605392-C14F-4ECE-A61E-3ADB9B41B7B2}" destId="{4C24D612-A0F5-429F-ABF4-14DB1398A66E}" srcOrd="0" destOrd="0" presId="urn:microsoft.com/office/officeart/2005/8/layout/hierarchy2"/>
    <dgm:cxn modelId="{4014B5A8-3ACA-460E-A853-0C4BAA29B9F6}" type="presParOf" srcId="{4C24D612-A0F5-429F-ABF4-14DB1398A66E}" destId="{B29BD9B5-B446-43E6-B7D1-7628E9A86371}" srcOrd="0" destOrd="0" presId="urn:microsoft.com/office/officeart/2005/8/layout/hierarchy2"/>
    <dgm:cxn modelId="{E208624B-2227-48D2-8EF7-1EFE40C31B84}" type="presParOf" srcId="{4C24D612-A0F5-429F-ABF4-14DB1398A66E}" destId="{544D8F24-5E7A-46A9-B737-B76078889F21}" srcOrd="1" destOrd="0" presId="urn:microsoft.com/office/officeart/2005/8/layout/hierarchy2"/>
    <dgm:cxn modelId="{981135AD-971C-4EBD-BAB6-B35941B47C84}" type="presParOf" srcId="{544D8F24-5E7A-46A9-B737-B76078889F21}" destId="{313A9F36-111B-4408-8C13-325CD731C95B}" srcOrd="0" destOrd="0" presId="urn:microsoft.com/office/officeart/2005/8/layout/hierarchy2"/>
    <dgm:cxn modelId="{FEA8D9B1-1CFA-408F-B632-F5DC0A740F87}" type="presParOf" srcId="{313A9F36-111B-4408-8C13-325CD731C95B}" destId="{3449EE20-CEEC-4FEA-97FF-819E4AAD2F53}" srcOrd="0" destOrd="0" presId="urn:microsoft.com/office/officeart/2005/8/layout/hierarchy2"/>
    <dgm:cxn modelId="{6D1CF78B-B81E-4B56-AE70-F5704C4CDA1D}" type="presParOf" srcId="{544D8F24-5E7A-46A9-B737-B76078889F21}" destId="{EB4F55B3-147D-493D-8345-869E29464392}" srcOrd="1" destOrd="0" presId="urn:microsoft.com/office/officeart/2005/8/layout/hierarchy2"/>
    <dgm:cxn modelId="{A49CBD3F-341D-40B3-86FA-B2B01788AA02}" type="presParOf" srcId="{EB4F55B3-147D-493D-8345-869E29464392}" destId="{05949F13-62F3-4FB4-B509-C9BF9DC0EE43}" srcOrd="0" destOrd="0" presId="urn:microsoft.com/office/officeart/2005/8/layout/hierarchy2"/>
    <dgm:cxn modelId="{F9CEBA5C-07FC-47BC-A718-26DD853B3DA0}" type="presParOf" srcId="{EB4F55B3-147D-493D-8345-869E29464392}" destId="{7AA0618F-2785-427D-9EC9-9A2ED7D13553}" srcOrd="1" destOrd="0" presId="urn:microsoft.com/office/officeart/2005/8/layout/hierarchy2"/>
    <dgm:cxn modelId="{D6FC7A0E-2ECA-4EEF-B12C-5AC9EE166076}" type="presParOf" srcId="{7AA0618F-2785-427D-9EC9-9A2ED7D13553}" destId="{6A6F1CB7-84B8-4C7B-BDD3-5B58F77F88A8}" srcOrd="0" destOrd="0" presId="urn:microsoft.com/office/officeart/2005/8/layout/hierarchy2"/>
    <dgm:cxn modelId="{0CEECA15-A440-4815-A379-CDC6FFDB9305}" type="presParOf" srcId="{6A6F1CB7-84B8-4C7B-BDD3-5B58F77F88A8}" destId="{4B850253-AED9-4DF2-A992-5F586AF26B61}" srcOrd="0" destOrd="0" presId="urn:microsoft.com/office/officeart/2005/8/layout/hierarchy2"/>
    <dgm:cxn modelId="{6C02CC90-F608-4DAC-8BF4-E08E17EE367F}" type="presParOf" srcId="{7AA0618F-2785-427D-9EC9-9A2ED7D13553}" destId="{6BCBC44C-8EF3-4F2E-BEDC-E34E26B46253}" srcOrd="1" destOrd="0" presId="urn:microsoft.com/office/officeart/2005/8/layout/hierarchy2"/>
    <dgm:cxn modelId="{A8C3F999-E1C0-4FF8-98CC-DFFF07BE28B2}" type="presParOf" srcId="{6BCBC44C-8EF3-4F2E-BEDC-E34E26B46253}" destId="{98636BD4-AB27-44DA-BBE2-C3CEB98689A0}" srcOrd="0" destOrd="0" presId="urn:microsoft.com/office/officeart/2005/8/layout/hierarchy2"/>
    <dgm:cxn modelId="{23089DAE-88C5-4BFC-AFCD-04282BF3E206}" type="presParOf" srcId="{6BCBC44C-8EF3-4F2E-BEDC-E34E26B46253}" destId="{1BD65063-E2CD-4552-8B00-6D2C7910E2D1}" srcOrd="1" destOrd="0" presId="urn:microsoft.com/office/officeart/2005/8/layout/hierarchy2"/>
    <dgm:cxn modelId="{768B3F0E-7905-4540-90DB-EC5B70738C53}" type="presParOf" srcId="{7AA0618F-2785-427D-9EC9-9A2ED7D13553}" destId="{A5E66EB8-4B43-4E85-A186-D937854DCAFE}" srcOrd="2" destOrd="0" presId="urn:microsoft.com/office/officeart/2005/8/layout/hierarchy2"/>
    <dgm:cxn modelId="{BCB4BDBF-E976-44D5-AABA-D589260FA9C6}" type="presParOf" srcId="{A5E66EB8-4B43-4E85-A186-D937854DCAFE}" destId="{FBC250B6-7D16-441F-ADAE-31A58E3228CE}" srcOrd="0" destOrd="0" presId="urn:microsoft.com/office/officeart/2005/8/layout/hierarchy2"/>
    <dgm:cxn modelId="{1D50DDB1-92FD-4EA7-ABCB-480F72656E9F}" type="presParOf" srcId="{7AA0618F-2785-427D-9EC9-9A2ED7D13553}" destId="{6E97F388-8E55-4538-91F0-570A1A63EAD5}" srcOrd="3" destOrd="0" presId="urn:microsoft.com/office/officeart/2005/8/layout/hierarchy2"/>
    <dgm:cxn modelId="{76C5760A-F815-4B8F-93E0-E6605AD1E7F8}" type="presParOf" srcId="{6E97F388-8E55-4538-91F0-570A1A63EAD5}" destId="{D2AF2FA8-5A70-4160-A0E0-16E025A39C3D}" srcOrd="0" destOrd="0" presId="urn:microsoft.com/office/officeart/2005/8/layout/hierarchy2"/>
    <dgm:cxn modelId="{B91FF90D-DE86-4F17-93F4-95F559FD125D}" type="presParOf" srcId="{6E97F388-8E55-4538-91F0-570A1A63EAD5}" destId="{D6C2A4DF-705B-4B54-AF9C-444051694147}" srcOrd="1" destOrd="0" presId="urn:microsoft.com/office/officeart/2005/8/layout/hierarchy2"/>
    <dgm:cxn modelId="{3FC82FF0-B301-4170-9608-10322B30CD46}" type="presParOf" srcId="{D6C2A4DF-705B-4B54-AF9C-444051694147}" destId="{F754FB1D-6E01-4228-99F6-C61F026C48A3}" srcOrd="0" destOrd="0" presId="urn:microsoft.com/office/officeart/2005/8/layout/hierarchy2"/>
    <dgm:cxn modelId="{18A339F6-730E-466E-8264-21D8469F83D1}" type="presParOf" srcId="{F754FB1D-6E01-4228-99F6-C61F026C48A3}" destId="{C4DAA021-91B5-4400-8ACE-EED941B95C5C}" srcOrd="0" destOrd="0" presId="urn:microsoft.com/office/officeart/2005/8/layout/hierarchy2"/>
    <dgm:cxn modelId="{ABAEF78B-D1D4-4577-B57E-052440C05694}" type="presParOf" srcId="{D6C2A4DF-705B-4B54-AF9C-444051694147}" destId="{506FD0F3-EEDE-4396-A696-56C4ED159950}" srcOrd="1" destOrd="0" presId="urn:microsoft.com/office/officeart/2005/8/layout/hierarchy2"/>
    <dgm:cxn modelId="{306A8122-2CE1-4FF3-A22D-C9F7714A018C}" type="presParOf" srcId="{506FD0F3-EEDE-4396-A696-56C4ED159950}" destId="{DE4225F7-D1CC-48FF-9F4F-069CE45BF482}" srcOrd="0" destOrd="0" presId="urn:microsoft.com/office/officeart/2005/8/layout/hierarchy2"/>
    <dgm:cxn modelId="{13D37EBB-D6EA-4283-85E1-5FDDD5398072}" type="presParOf" srcId="{506FD0F3-EEDE-4396-A696-56C4ED159950}" destId="{3D4D2D0A-C537-4F5D-8943-397932125B43}" srcOrd="1" destOrd="0" presId="urn:microsoft.com/office/officeart/2005/8/layout/hierarchy2"/>
    <dgm:cxn modelId="{D4BF7A73-A3A0-4FB5-A101-120A923E116F}" type="presParOf" srcId="{3D4D2D0A-C537-4F5D-8943-397932125B43}" destId="{8ECD308B-7AAB-4C85-A50C-B0B7A8F13B22}" srcOrd="0" destOrd="0" presId="urn:microsoft.com/office/officeart/2005/8/layout/hierarchy2"/>
    <dgm:cxn modelId="{ACA23A26-8319-40B3-A271-B86ED79063F3}" type="presParOf" srcId="{8ECD308B-7AAB-4C85-A50C-B0B7A8F13B22}" destId="{3D3F26E2-1B5A-4F53-964E-0C9B7A176E3C}" srcOrd="0" destOrd="0" presId="urn:microsoft.com/office/officeart/2005/8/layout/hierarchy2"/>
    <dgm:cxn modelId="{07A798D3-C998-4CBA-ADD5-D18ED74B69E6}" type="presParOf" srcId="{3D4D2D0A-C537-4F5D-8943-397932125B43}" destId="{5BCA5FFF-9D64-477F-A790-B4F44BDC36B4}" srcOrd="1" destOrd="0" presId="urn:microsoft.com/office/officeart/2005/8/layout/hierarchy2"/>
    <dgm:cxn modelId="{2BE45565-23B8-4094-9C64-2BC11726A723}" type="presParOf" srcId="{5BCA5FFF-9D64-477F-A790-B4F44BDC36B4}" destId="{EDDFBDDB-CA5A-48E6-9D15-B84F0FEC47A5}" srcOrd="0" destOrd="0" presId="urn:microsoft.com/office/officeart/2005/8/layout/hierarchy2"/>
    <dgm:cxn modelId="{E25A2479-F7A9-4DB5-9542-D392DC277D5A}" type="presParOf" srcId="{5BCA5FFF-9D64-477F-A790-B4F44BDC36B4}" destId="{13D0AB88-F046-4BBC-8224-A82CF3818207}" srcOrd="1" destOrd="0" presId="urn:microsoft.com/office/officeart/2005/8/layout/hierarchy2"/>
    <dgm:cxn modelId="{36AB2071-D03A-47C8-8943-E7EDC96ECE3B}" type="presParOf" srcId="{3D4D2D0A-C537-4F5D-8943-397932125B43}" destId="{EDDD4B04-4FE5-4D4E-B2AD-7C173781E94D}" srcOrd="2" destOrd="0" presId="urn:microsoft.com/office/officeart/2005/8/layout/hierarchy2"/>
    <dgm:cxn modelId="{C477BE1C-B5E2-4B72-9CB9-0487ACBAC1C4}" type="presParOf" srcId="{EDDD4B04-4FE5-4D4E-B2AD-7C173781E94D}" destId="{048D0AA5-3415-421B-B774-39B49734811F}" srcOrd="0" destOrd="0" presId="urn:microsoft.com/office/officeart/2005/8/layout/hierarchy2"/>
    <dgm:cxn modelId="{043499DD-5CDF-4750-BC47-D7E64AFFC4AF}" type="presParOf" srcId="{3D4D2D0A-C537-4F5D-8943-397932125B43}" destId="{91DCBD9F-DBDF-4B21-9773-13D85FCA8583}" srcOrd="3" destOrd="0" presId="urn:microsoft.com/office/officeart/2005/8/layout/hierarchy2"/>
    <dgm:cxn modelId="{AB7BE472-9F6D-4D52-B45A-9069C609DAC1}" type="presParOf" srcId="{91DCBD9F-DBDF-4B21-9773-13D85FCA8583}" destId="{AB603FEE-3208-4FA5-854A-A077B2FDFFF7}" srcOrd="0" destOrd="0" presId="urn:microsoft.com/office/officeart/2005/8/layout/hierarchy2"/>
    <dgm:cxn modelId="{71705847-171C-4122-B4AE-5F956577F878}" type="presParOf" srcId="{91DCBD9F-DBDF-4B21-9773-13D85FCA8583}" destId="{D4F517EF-820D-403B-B3F5-7D3032BB4DAE}" srcOrd="1" destOrd="0" presId="urn:microsoft.com/office/officeart/2005/8/layout/hierarchy2"/>
    <dgm:cxn modelId="{97242E45-E6D0-467B-824A-4F408D7416AB}" type="presParOf" srcId="{3D4D2D0A-C537-4F5D-8943-397932125B43}" destId="{4DFD3A24-F5B6-4A0E-A196-D29DF883BA24}" srcOrd="4" destOrd="0" presId="urn:microsoft.com/office/officeart/2005/8/layout/hierarchy2"/>
    <dgm:cxn modelId="{C0F9D98B-BF76-4542-AE14-E533051643CB}" type="presParOf" srcId="{4DFD3A24-F5B6-4A0E-A196-D29DF883BA24}" destId="{9BDA8D38-95B7-4A40-A7B0-8BE2B4B6CB10}" srcOrd="0" destOrd="0" presId="urn:microsoft.com/office/officeart/2005/8/layout/hierarchy2"/>
    <dgm:cxn modelId="{10DBCCBE-7C4D-4380-92E1-55C85F3D733E}" type="presParOf" srcId="{3D4D2D0A-C537-4F5D-8943-397932125B43}" destId="{4D46A824-C199-40FB-AAF1-B24F6590E39E}" srcOrd="5" destOrd="0" presId="urn:microsoft.com/office/officeart/2005/8/layout/hierarchy2"/>
    <dgm:cxn modelId="{6DCD4A28-1703-45DD-B1E6-825FA3F84826}" type="presParOf" srcId="{4D46A824-C199-40FB-AAF1-B24F6590E39E}" destId="{718F5C4D-5A41-4E50-BF0D-D36146603A62}" srcOrd="0" destOrd="0" presId="urn:microsoft.com/office/officeart/2005/8/layout/hierarchy2"/>
    <dgm:cxn modelId="{D2B4E436-03BD-49A6-A552-075A2B38F71C}" type="presParOf" srcId="{4D46A824-C199-40FB-AAF1-B24F6590E39E}" destId="{DD71146F-9992-40B4-A1F2-4E8896E2519C}" srcOrd="1" destOrd="0" presId="urn:microsoft.com/office/officeart/2005/8/layout/hierarchy2"/>
    <dgm:cxn modelId="{AE7DF47B-E227-47FD-B2FD-0B524C95FAB8}" type="presParOf" srcId="{3D4D2D0A-C537-4F5D-8943-397932125B43}" destId="{D1BD8B13-2A06-4F03-A666-96B7E107C7F3}" srcOrd="6" destOrd="0" presId="urn:microsoft.com/office/officeart/2005/8/layout/hierarchy2"/>
    <dgm:cxn modelId="{E13CD539-4214-4362-93AA-86CEF6DCD76D}" type="presParOf" srcId="{D1BD8B13-2A06-4F03-A666-96B7E107C7F3}" destId="{AB1F2804-F8EB-4C2C-BE20-FE01E9E9E87B}" srcOrd="0" destOrd="0" presId="urn:microsoft.com/office/officeart/2005/8/layout/hierarchy2"/>
    <dgm:cxn modelId="{2D1ACD48-6C7C-4936-8BAE-6F2C55BE9C9D}" type="presParOf" srcId="{3D4D2D0A-C537-4F5D-8943-397932125B43}" destId="{9CA8CEE0-1042-4316-950E-35484CA139F3}" srcOrd="7" destOrd="0" presId="urn:microsoft.com/office/officeart/2005/8/layout/hierarchy2"/>
    <dgm:cxn modelId="{2D2793F6-4623-4D44-AA75-DAF5AE8D590A}" type="presParOf" srcId="{9CA8CEE0-1042-4316-950E-35484CA139F3}" destId="{D3E296CA-5154-4688-B45B-589EEA447826}" srcOrd="0" destOrd="0" presId="urn:microsoft.com/office/officeart/2005/8/layout/hierarchy2"/>
    <dgm:cxn modelId="{19A0E795-FF64-4810-AD0B-8A8936B70EC7}" type="presParOf" srcId="{9CA8CEE0-1042-4316-950E-35484CA139F3}" destId="{33DAC789-5B35-4F81-80F4-0B8312D5D5C5}" srcOrd="1" destOrd="0" presId="urn:microsoft.com/office/officeart/2005/8/layout/hierarchy2"/>
    <dgm:cxn modelId="{297F1468-C6BB-4E36-9216-5AA00078E52F}" type="presParOf" srcId="{544D8F24-5E7A-46A9-B737-B76078889F21}" destId="{B3B39737-1BDC-4395-994D-FABCDCF81B69}" srcOrd="2" destOrd="0" presId="urn:microsoft.com/office/officeart/2005/8/layout/hierarchy2"/>
    <dgm:cxn modelId="{4D36C8DE-85FE-45CE-8B70-97C68DDC9E89}" type="presParOf" srcId="{B3B39737-1BDC-4395-994D-FABCDCF81B69}" destId="{D5343C1F-4867-4D1E-950C-417C429C4C54}" srcOrd="0" destOrd="0" presId="urn:microsoft.com/office/officeart/2005/8/layout/hierarchy2"/>
    <dgm:cxn modelId="{E0F1B72A-C9DC-460F-B1CC-436D161EC456}" type="presParOf" srcId="{544D8F24-5E7A-46A9-B737-B76078889F21}" destId="{7B2625D8-7659-4A67-B80A-AA123017B015}" srcOrd="3" destOrd="0" presId="urn:microsoft.com/office/officeart/2005/8/layout/hierarchy2"/>
    <dgm:cxn modelId="{8A849C64-E300-4991-B2F0-3DF0A4B724C5}" type="presParOf" srcId="{7B2625D8-7659-4A67-B80A-AA123017B015}" destId="{EC7C50D7-A6D9-49C8-BAD9-E503CC5EA2C6}" srcOrd="0" destOrd="0" presId="urn:microsoft.com/office/officeart/2005/8/layout/hierarchy2"/>
    <dgm:cxn modelId="{15D40F68-F7E2-42E5-B456-55BB52196127}" type="presParOf" srcId="{7B2625D8-7659-4A67-B80A-AA123017B015}" destId="{F1681A1B-793D-47D3-A6EF-4A7A68DEC343}" srcOrd="1" destOrd="0" presId="urn:microsoft.com/office/officeart/2005/8/layout/hierarchy2"/>
    <dgm:cxn modelId="{446C2404-FA66-43EA-8534-D1ECE844C573}" type="presParOf" srcId="{544D8F24-5E7A-46A9-B737-B76078889F21}" destId="{D09021CE-4B50-4A51-A7FD-0B1AD1678429}" srcOrd="4" destOrd="0" presId="urn:microsoft.com/office/officeart/2005/8/layout/hierarchy2"/>
    <dgm:cxn modelId="{5626D752-AEB4-4F4B-AF52-41A977EF0CCB}" type="presParOf" srcId="{D09021CE-4B50-4A51-A7FD-0B1AD1678429}" destId="{930814F5-D88E-4909-A203-F707AAAB72AE}" srcOrd="0" destOrd="0" presId="urn:microsoft.com/office/officeart/2005/8/layout/hierarchy2"/>
    <dgm:cxn modelId="{E78D2712-1EAB-413C-9798-FB430F1FBDCD}" type="presParOf" srcId="{544D8F24-5E7A-46A9-B737-B76078889F21}" destId="{4F9526FF-1AAE-44AD-B24A-09479AAB8726}" srcOrd="5" destOrd="0" presId="urn:microsoft.com/office/officeart/2005/8/layout/hierarchy2"/>
    <dgm:cxn modelId="{109FB4DE-1D45-4419-9EB6-00C4851A704A}" type="presParOf" srcId="{4F9526FF-1AAE-44AD-B24A-09479AAB8726}" destId="{868F4EAA-4373-402C-ADD9-2A6778958421}" srcOrd="0" destOrd="0" presId="urn:microsoft.com/office/officeart/2005/8/layout/hierarchy2"/>
    <dgm:cxn modelId="{452F38DE-B0D4-40CA-AF8F-BF50E5BEC832}" type="presParOf" srcId="{4F9526FF-1AAE-44AD-B24A-09479AAB8726}" destId="{F5BB5E1D-BC2F-4632-A13F-DE2BA90290E5}" srcOrd="1" destOrd="0" presId="urn:microsoft.com/office/officeart/2005/8/layout/hierarchy2"/>
    <dgm:cxn modelId="{C0DC9BAE-4C52-4DC5-A009-1CA15E831657}" type="presParOf" srcId="{544D8F24-5E7A-46A9-B737-B76078889F21}" destId="{170E8B10-0A59-4A99-8518-F6D9F4D4A22A}" srcOrd="6" destOrd="0" presId="urn:microsoft.com/office/officeart/2005/8/layout/hierarchy2"/>
    <dgm:cxn modelId="{CC3B07B4-CD22-41BB-B1A1-210D970C1920}" type="presParOf" srcId="{170E8B10-0A59-4A99-8518-F6D9F4D4A22A}" destId="{DE28071A-3DBA-40BD-AFA1-5BD68B1383DF}" srcOrd="0" destOrd="0" presId="urn:microsoft.com/office/officeart/2005/8/layout/hierarchy2"/>
    <dgm:cxn modelId="{8511A1B5-04B7-4154-B5A4-09D4A588B270}" type="presParOf" srcId="{544D8F24-5E7A-46A9-B737-B76078889F21}" destId="{49F920E5-4B78-4E86-A9C8-3114D9DCC505}" srcOrd="7" destOrd="0" presId="urn:microsoft.com/office/officeart/2005/8/layout/hierarchy2"/>
    <dgm:cxn modelId="{81F825CE-B6F3-44AD-BD5E-730CDA6D219F}" type="presParOf" srcId="{49F920E5-4B78-4E86-A9C8-3114D9DCC505}" destId="{A2949E4D-A81D-4A07-B249-D07A2B0112F1}" srcOrd="0" destOrd="0" presId="urn:microsoft.com/office/officeart/2005/8/layout/hierarchy2"/>
    <dgm:cxn modelId="{D86C2950-2A52-43E6-A5CB-075D98D0AE54}" type="presParOf" srcId="{49F920E5-4B78-4E86-A9C8-3114D9DCC505}" destId="{DDE20493-D326-4E57-B291-8694F0E7EF54}" srcOrd="1" destOrd="0" presId="urn:microsoft.com/office/officeart/2005/8/layout/hierarchy2"/>
    <dgm:cxn modelId="{711E0D0C-B4AA-489A-9E0A-B259C42E2CC7}" type="presParOf" srcId="{544D8F24-5E7A-46A9-B737-B76078889F21}" destId="{BF8BBBC6-ABCA-4EBB-93A9-C6001ABB01A6}" srcOrd="8" destOrd="0" presId="urn:microsoft.com/office/officeart/2005/8/layout/hierarchy2"/>
    <dgm:cxn modelId="{79FE5AA9-2AF9-4469-93E5-B3E17ABD8360}" type="presParOf" srcId="{BF8BBBC6-ABCA-4EBB-93A9-C6001ABB01A6}" destId="{6FC70BDB-A0E7-4587-B1A4-187BB9901286}" srcOrd="0" destOrd="0" presId="urn:microsoft.com/office/officeart/2005/8/layout/hierarchy2"/>
    <dgm:cxn modelId="{F06D5BD4-C706-46D2-9142-607CEAF6DCD4}" type="presParOf" srcId="{544D8F24-5E7A-46A9-B737-B76078889F21}" destId="{022D347F-5D00-4E67-8515-77889CF89CDA}" srcOrd="9" destOrd="0" presId="urn:microsoft.com/office/officeart/2005/8/layout/hierarchy2"/>
    <dgm:cxn modelId="{E8119450-3477-49F7-884E-01A011A46870}" type="presParOf" srcId="{022D347F-5D00-4E67-8515-77889CF89CDA}" destId="{935D3211-CAC3-4AB4-9EA8-635BF67B552B}" srcOrd="0" destOrd="0" presId="urn:microsoft.com/office/officeart/2005/8/layout/hierarchy2"/>
    <dgm:cxn modelId="{B30EE921-A1BA-4CBC-AC37-DB52561B86F2}" type="presParOf" srcId="{022D347F-5D00-4E67-8515-77889CF89CDA}" destId="{B9427152-8C3E-43C0-8FA4-D397217EB363}" srcOrd="1" destOrd="0" presId="urn:microsoft.com/office/officeart/2005/8/layout/hierarchy2"/>
    <dgm:cxn modelId="{2DFE009C-5C7D-426A-8555-3B15BAEE5EA6}" type="presParOf" srcId="{544D8F24-5E7A-46A9-B737-B76078889F21}" destId="{8BB0ABBD-B982-4B78-A37D-AEA2903DDD08}" srcOrd="10" destOrd="0" presId="urn:microsoft.com/office/officeart/2005/8/layout/hierarchy2"/>
    <dgm:cxn modelId="{928555C1-2FAE-4AAB-9B95-7C18B7985541}" type="presParOf" srcId="{8BB0ABBD-B982-4B78-A37D-AEA2903DDD08}" destId="{B578BF37-05BC-45C7-BBC8-C09086C008A7}" srcOrd="0" destOrd="0" presId="urn:microsoft.com/office/officeart/2005/8/layout/hierarchy2"/>
    <dgm:cxn modelId="{F24D08EA-6C97-4B73-B7ED-AD7542ABEF2F}" type="presParOf" srcId="{544D8F24-5E7A-46A9-B737-B76078889F21}" destId="{167D759D-3252-47AF-B486-9A7C736F7A1F}" srcOrd="11" destOrd="0" presId="urn:microsoft.com/office/officeart/2005/8/layout/hierarchy2"/>
    <dgm:cxn modelId="{4B1BFF08-C5A4-48D5-900C-575587519015}" type="presParOf" srcId="{167D759D-3252-47AF-B486-9A7C736F7A1F}" destId="{D7D51632-0E69-4CD5-85E5-3F1EC5A05DDC}" srcOrd="0" destOrd="0" presId="urn:microsoft.com/office/officeart/2005/8/layout/hierarchy2"/>
    <dgm:cxn modelId="{3D491749-C907-4ED8-9DEA-D7B1C5F156EB}" type="presParOf" srcId="{167D759D-3252-47AF-B486-9A7C736F7A1F}" destId="{CC5C94BF-A990-4065-BCE5-3269AB8C2DAF}" srcOrd="1" destOrd="0" presId="urn:microsoft.com/office/officeart/2005/8/layout/hierarchy2"/>
    <dgm:cxn modelId="{57FC32F7-8E1D-4F30-ACC2-7724D26123A5}" type="presParOf" srcId="{544D8F24-5E7A-46A9-B737-B76078889F21}" destId="{1D2B3DAA-8B11-4391-9849-EB53BDC896C9}" srcOrd="12" destOrd="0" presId="urn:microsoft.com/office/officeart/2005/8/layout/hierarchy2"/>
    <dgm:cxn modelId="{83572762-9420-46BF-8F9B-E159E2A6494F}" type="presParOf" srcId="{1D2B3DAA-8B11-4391-9849-EB53BDC896C9}" destId="{78A94CC8-5D16-4CB6-80B3-2D300BD3D896}" srcOrd="0" destOrd="0" presId="urn:microsoft.com/office/officeart/2005/8/layout/hierarchy2"/>
    <dgm:cxn modelId="{7D1200F0-68BD-4F04-A4AF-5E25365D3A96}" type="presParOf" srcId="{544D8F24-5E7A-46A9-B737-B76078889F21}" destId="{5A7CD00B-6D85-441A-B402-3C0D165800D8}" srcOrd="13" destOrd="0" presId="urn:microsoft.com/office/officeart/2005/8/layout/hierarchy2"/>
    <dgm:cxn modelId="{49AFED6A-348B-49CC-9E03-E732DD1B56C3}" type="presParOf" srcId="{5A7CD00B-6D85-441A-B402-3C0D165800D8}" destId="{A111C5AB-C51B-4ABF-9515-19ADCC287F17}" srcOrd="0" destOrd="0" presId="urn:microsoft.com/office/officeart/2005/8/layout/hierarchy2"/>
    <dgm:cxn modelId="{5E4CA92D-B62E-415D-A7AB-2F8BD3BC1106}" type="presParOf" srcId="{5A7CD00B-6D85-441A-B402-3C0D165800D8}" destId="{AD1F37CA-599C-4663-9769-379114650FF3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7BD25F5-6302-4893-93F2-52FDF5B4EBAD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6261EB-0171-495F-B01C-FEE19C336E95}">
      <dgm:prSet phldrT="[Text]" custT="1"/>
      <dgm:spPr/>
      <dgm:t>
        <a:bodyPr/>
        <a:lstStyle/>
        <a:p>
          <a:r>
            <a:rPr lang="en-US" sz="1400" dirty="0" smtClean="0"/>
            <a:t>Attribute</a:t>
          </a:r>
          <a:endParaRPr lang="en-US" sz="1400" dirty="0"/>
        </a:p>
      </dgm:t>
    </dgm:pt>
    <dgm:pt modelId="{251F7718-5450-4C52-A6D6-15B812BA51FC}" type="parTrans" cxnId="{E789C7C1-7095-4E97-B450-FA8FED4C0146}">
      <dgm:prSet/>
      <dgm:spPr/>
      <dgm:t>
        <a:bodyPr/>
        <a:lstStyle/>
        <a:p>
          <a:endParaRPr lang="en-US"/>
        </a:p>
      </dgm:t>
    </dgm:pt>
    <dgm:pt modelId="{D089DF42-35E3-4C2E-A495-3266A484CCF5}" type="sibTrans" cxnId="{E789C7C1-7095-4E97-B450-FA8FED4C0146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0E055442-FE41-47C5-9D95-C8E3417880AB}">
      <dgm:prSet phldrT="[Text]" custT="1"/>
      <dgm:spPr/>
      <dgm:t>
        <a:bodyPr/>
        <a:lstStyle/>
        <a:p>
          <a:r>
            <a:rPr lang="en-US" sz="1400" dirty="0" smtClean="0"/>
            <a:t>Vehicle</a:t>
          </a:r>
          <a:endParaRPr lang="en-US" sz="1400" dirty="0"/>
        </a:p>
      </dgm:t>
    </dgm:pt>
    <dgm:pt modelId="{3E75E917-A50C-420A-AA35-059FF8459A10}" type="parTrans" cxnId="{E4575097-B293-407B-983A-5215BE9C6B9D}">
      <dgm:prSet/>
      <dgm:spPr/>
      <dgm:t>
        <a:bodyPr/>
        <a:lstStyle/>
        <a:p>
          <a:endParaRPr lang="en-US"/>
        </a:p>
      </dgm:t>
    </dgm:pt>
    <dgm:pt modelId="{B8FD46C9-DCB8-468F-A3E0-F1B732362C04}" type="sibTrans" cxnId="{E4575097-B293-407B-983A-5215BE9C6B9D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57AFC9E6-92E5-41D3-B04B-D902096F72D6}">
      <dgm:prSet phldrT="[Text]" custT="1"/>
      <dgm:spPr/>
      <dgm:t>
        <a:bodyPr/>
        <a:lstStyle/>
        <a:p>
          <a:r>
            <a:rPr lang="en-US" sz="1400" dirty="0" smtClean="0"/>
            <a:t>Body</a:t>
          </a:r>
          <a:endParaRPr lang="en-US" sz="1400" dirty="0"/>
        </a:p>
      </dgm:t>
    </dgm:pt>
    <dgm:pt modelId="{973511AB-96D9-4C25-A8CA-9FABB9C345F3}" type="parTrans" cxnId="{C145884A-C1CE-4E06-B0A9-2672C01114BB}">
      <dgm:prSet/>
      <dgm:spPr/>
      <dgm:t>
        <a:bodyPr/>
        <a:lstStyle/>
        <a:p>
          <a:endParaRPr lang="en-US"/>
        </a:p>
      </dgm:t>
    </dgm:pt>
    <dgm:pt modelId="{6CBE751C-5D9D-413A-A7B4-2F4AE3EEB9F9}" type="sibTrans" cxnId="{C145884A-C1CE-4E06-B0A9-2672C01114BB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D3B76DD8-F1BC-4A4B-8236-5DBE51B68581}">
      <dgm:prSet phldrT="[Text]" custT="1"/>
      <dgm:spPr/>
      <dgm:t>
        <a:bodyPr/>
        <a:lstStyle/>
        <a:p>
          <a:r>
            <a:rPr lang="en-US" sz="1400" dirty="0" smtClean="0"/>
            <a:t>Drivetrain</a:t>
          </a:r>
          <a:endParaRPr lang="en-US" sz="1400" dirty="0"/>
        </a:p>
      </dgm:t>
    </dgm:pt>
    <dgm:pt modelId="{3F614571-7D7C-4849-B4E1-875DB3221B75}" type="parTrans" cxnId="{BA20251D-3EC3-4F1F-9CC2-2880C4642E3D}">
      <dgm:prSet/>
      <dgm:spPr/>
      <dgm:t>
        <a:bodyPr/>
        <a:lstStyle/>
        <a:p>
          <a:endParaRPr lang="en-US"/>
        </a:p>
      </dgm:t>
    </dgm:pt>
    <dgm:pt modelId="{F41044CF-DCFF-4182-848F-D8E4EA298040}" type="sibTrans" cxnId="{BA20251D-3EC3-4F1F-9CC2-2880C4642E3D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DB621FDC-5909-4344-8D9D-BE3C2AE0E3D7}">
      <dgm:prSet phldrT="[Text]"/>
      <dgm:spPr/>
      <dgm:t>
        <a:bodyPr/>
        <a:lstStyle/>
        <a:p>
          <a:r>
            <a:rPr lang="en-US" dirty="0" err="1" smtClean="0"/>
            <a:t>VehicleIdentification</a:t>
          </a:r>
          <a:endParaRPr lang="en-US" dirty="0"/>
        </a:p>
      </dgm:t>
    </dgm:pt>
    <dgm:pt modelId="{2E0151E9-33E1-4754-92FF-57EC2475B379}" type="parTrans" cxnId="{11BA13EA-DC5B-4988-ABE5-793F403CED4B}">
      <dgm:prSet/>
      <dgm:spPr/>
      <dgm:t>
        <a:bodyPr/>
        <a:lstStyle/>
        <a:p>
          <a:endParaRPr lang="en-US"/>
        </a:p>
      </dgm:t>
    </dgm:pt>
    <dgm:pt modelId="{06BB1840-35BC-4874-A1E6-A73503937198}" type="sibTrans" cxnId="{11BA13EA-DC5B-4988-ABE5-793F403CED4B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0CE368C0-8771-41E1-832F-16A3360E23C2}">
      <dgm:prSet phldrT="[Text]" custT="1"/>
      <dgm:spPr/>
      <dgm:t>
        <a:bodyPr/>
        <a:lstStyle/>
        <a:p>
          <a:r>
            <a:rPr lang="en-US" sz="1400" dirty="0" smtClean="0"/>
            <a:t>VIN</a:t>
          </a:r>
          <a:endParaRPr lang="en-US" sz="1400" dirty="0"/>
        </a:p>
      </dgm:t>
    </dgm:pt>
    <dgm:pt modelId="{58328D93-0B9C-4CAC-A9FA-EDAB68EDA174}" type="parTrans" cxnId="{CD13AA2E-DAE5-485A-ADBE-AB3D1D1D6E5E}">
      <dgm:prSet/>
      <dgm:spPr/>
      <dgm:t>
        <a:bodyPr/>
        <a:lstStyle/>
        <a:p>
          <a:endParaRPr lang="en-US"/>
        </a:p>
      </dgm:t>
    </dgm:pt>
    <dgm:pt modelId="{1CB27ED1-218B-41D6-9C08-04B9EB3E7C00}" type="sibTrans" cxnId="{CD13AA2E-DAE5-485A-ADBE-AB3D1D1D6E5E}">
      <dgm:prSet/>
      <dgm:spPr/>
      <dgm:t>
        <a:bodyPr/>
        <a:lstStyle/>
        <a:p>
          <a:r>
            <a:rPr lang="en-US" dirty="0" smtClean="0">
              <a:solidFill>
                <a:srgbClr val="FF0000"/>
              </a:solidFill>
            </a:rPr>
            <a:t>Attribute</a:t>
          </a:r>
          <a:endParaRPr lang="en-US" dirty="0">
            <a:solidFill>
              <a:srgbClr val="FF0000"/>
            </a:solidFill>
          </a:endParaRPr>
        </a:p>
      </dgm:t>
    </dgm:pt>
    <dgm:pt modelId="{46D85903-DF24-4866-AC5B-7BFE4D06677E}" type="pres">
      <dgm:prSet presAssocID="{B7BD25F5-6302-4893-93F2-52FDF5B4EBA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4318B39-1C2B-48D4-8402-FB2CD165870C}" type="pres">
      <dgm:prSet presAssocID="{A76261EB-0171-495F-B01C-FEE19C336E95}" presName="hierRoot1" presStyleCnt="0">
        <dgm:presLayoutVars>
          <dgm:hierBranch val="init"/>
        </dgm:presLayoutVars>
      </dgm:prSet>
      <dgm:spPr/>
    </dgm:pt>
    <dgm:pt modelId="{2352F99D-4AE7-4087-81AE-A79E26AB0FFE}" type="pres">
      <dgm:prSet presAssocID="{A76261EB-0171-495F-B01C-FEE19C336E95}" presName="rootComposite1" presStyleCnt="0"/>
      <dgm:spPr/>
    </dgm:pt>
    <dgm:pt modelId="{179396DE-4BC8-4DD5-A4F4-A2E3DF862D89}" type="pres">
      <dgm:prSet presAssocID="{A76261EB-0171-495F-B01C-FEE19C336E95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612EBEE-C49E-4842-BE92-B4FB1F31EA49}" type="pres">
      <dgm:prSet presAssocID="{A76261EB-0171-495F-B01C-FEE19C336E95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3F94806-473D-4106-8B71-2E3D523486AB}" type="pres">
      <dgm:prSet presAssocID="{A76261EB-0171-495F-B01C-FEE19C336E95}" presName="rootConnector1" presStyleLbl="node1" presStyleIdx="0" presStyleCnt="5"/>
      <dgm:spPr/>
      <dgm:t>
        <a:bodyPr/>
        <a:lstStyle/>
        <a:p>
          <a:endParaRPr lang="en-US"/>
        </a:p>
      </dgm:t>
    </dgm:pt>
    <dgm:pt modelId="{FA007652-64FC-486C-B08C-DC129C7DBF3D}" type="pres">
      <dgm:prSet presAssocID="{A76261EB-0171-495F-B01C-FEE19C336E95}" presName="hierChild2" presStyleCnt="0"/>
      <dgm:spPr/>
    </dgm:pt>
    <dgm:pt modelId="{52FE3C7C-536D-4A02-883C-915D928CB6F9}" type="pres">
      <dgm:prSet presAssocID="{3E75E917-A50C-420A-AA35-059FF8459A10}" presName="Name37" presStyleLbl="parChTrans1D2" presStyleIdx="0" presStyleCnt="3"/>
      <dgm:spPr/>
      <dgm:t>
        <a:bodyPr/>
        <a:lstStyle/>
        <a:p>
          <a:endParaRPr lang="en-US"/>
        </a:p>
      </dgm:t>
    </dgm:pt>
    <dgm:pt modelId="{9CBF65CB-3F42-4CF3-8951-F9CAF298345F}" type="pres">
      <dgm:prSet presAssocID="{0E055442-FE41-47C5-9D95-C8E3417880AB}" presName="hierRoot2" presStyleCnt="0">
        <dgm:presLayoutVars>
          <dgm:hierBranch val="init"/>
        </dgm:presLayoutVars>
      </dgm:prSet>
      <dgm:spPr/>
    </dgm:pt>
    <dgm:pt modelId="{2C3249AD-5D85-43B3-94E2-700049A240E4}" type="pres">
      <dgm:prSet presAssocID="{0E055442-FE41-47C5-9D95-C8E3417880AB}" presName="rootComposite" presStyleCnt="0"/>
      <dgm:spPr/>
    </dgm:pt>
    <dgm:pt modelId="{1AD1E644-3FD8-417E-82B8-0BAF464C1A1A}" type="pres">
      <dgm:prSet presAssocID="{0E055442-FE41-47C5-9D95-C8E3417880AB}" presName="rootText" presStyleLbl="node1" presStyleIdx="0" presStyleCnt="5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82EB87DA-1A26-4090-AD1E-2DE64651FD06}" type="pres">
      <dgm:prSet presAssocID="{0E055442-FE41-47C5-9D95-C8E3417880AB}" presName="titleText2" presStyleLbl="fgAcc1" presStyleIdx="0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33B6F7C-F20C-4ACD-9703-742AA914FD73}" type="pres">
      <dgm:prSet presAssocID="{0E055442-FE41-47C5-9D95-C8E3417880AB}" presName="rootConnector" presStyleLbl="node2" presStyleIdx="0" presStyleCnt="0"/>
      <dgm:spPr/>
      <dgm:t>
        <a:bodyPr/>
        <a:lstStyle/>
        <a:p>
          <a:endParaRPr lang="en-US"/>
        </a:p>
      </dgm:t>
    </dgm:pt>
    <dgm:pt modelId="{CBA015C2-8084-417F-95B4-01483A02857D}" type="pres">
      <dgm:prSet presAssocID="{0E055442-FE41-47C5-9D95-C8E3417880AB}" presName="hierChild4" presStyleCnt="0"/>
      <dgm:spPr/>
    </dgm:pt>
    <dgm:pt modelId="{B83DFCE0-7047-4341-BFDF-EFE14743AC60}" type="pres">
      <dgm:prSet presAssocID="{2E0151E9-33E1-4754-92FF-57EC2475B379}" presName="Name37" presStyleLbl="parChTrans1D3" presStyleIdx="0" presStyleCnt="1"/>
      <dgm:spPr/>
      <dgm:t>
        <a:bodyPr/>
        <a:lstStyle/>
        <a:p>
          <a:endParaRPr lang="en-US"/>
        </a:p>
      </dgm:t>
    </dgm:pt>
    <dgm:pt modelId="{2CB3BF85-F988-47DC-8EF2-D1E852C545F5}" type="pres">
      <dgm:prSet presAssocID="{DB621FDC-5909-4344-8D9D-BE3C2AE0E3D7}" presName="hierRoot2" presStyleCnt="0">
        <dgm:presLayoutVars>
          <dgm:hierBranch val="init"/>
        </dgm:presLayoutVars>
      </dgm:prSet>
      <dgm:spPr/>
    </dgm:pt>
    <dgm:pt modelId="{6EACD98D-CE14-4242-A66C-16581D07AC2E}" type="pres">
      <dgm:prSet presAssocID="{DB621FDC-5909-4344-8D9D-BE3C2AE0E3D7}" presName="rootComposite" presStyleCnt="0"/>
      <dgm:spPr/>
    </dgm:pt>
    <dgm:pt modelId="{F368093F-5616-4787-BBE1-7502D1A81C55}" type="pres">
      <dgm:prSet presAssocID="{DB621FDC-5909-4344-8D9D-BE3C2AE0E3D7}" presName="rootText" presStyleLbl="node1" presStyleIdx="1" presStyleCnt="5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1F1F3A79-5C32-42BF-A074-35B2DBEAA21A}" type="pres">
      <dgm:prSet presAssocID="{DB621FDC-5909-4344-8D9D-BE3C2AE0E3D7}" presName="titleText2" presStyleLbl="fgAcc1" presStyleIdx="1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DD2C2D96-F3DE-4726-A0A4-DFDFC86C50C6}" type="pres">
      <dgm:prSet presAssocID="{DB621FDC-5909-4344-8D9D-BE3C2AE0E3D7}" presName="rootConnector" presStyleLbl="node3" presStyleIdx="0" presStyleCnt="0"/>
      <dgm:spPr/>
      <dgm:t>
        <a:bodyPr/>
        <a:lstStyle/>
        <a:p>
          <a:endParaRPr lang="en-US"/>
        </a:p>
      </dgm:t>
    </dgm:pt>
    <dgm:pt modelId="{ECA7B03D-7717-454B-A610-045DDCF2F107}" type="pres">
      <dgm:prSet presAssocID="{DB621FDC-5909-4344-8D9D-BE3C2AE0E3D7}" presName="hierChild4" presStyleCnt="0"/>
      <dgm:spPr/>
    </dgm:pt>
    <dgm:pt modelId="{FBEB037B-17F3-420F-BC79-B5593FE565C9}" type="pres">
      <dgm:prSet presAssocID="{58328D93-0B9C-4CAC-A9FA-EDAB68EDA174}" presName="Name37" presStyleLbl="parChTrans1D4" presStyleIdx="0" presStyleCnt="1"/>
      <dgm:spPr/>
      <dgm:t>
        <a:bodyPr/>
        <a:lstStyle/>
        <a:p>
          <a:endParaRPr lang="en-US"/>
        </a:p>
      </dgm:t>
    </dgm:pt>
    <dgm:pt modelId="{7478A106-016B-46B1-B0DA-B975B7EE0397}" type="pres">
      <dgm:prSet presAssocID="{0CE368C0-8771-41E1-832F-16A3360E23C2}" presName="hierRoot2" presStyleCnt="0">
        <dgm:presLayoutVars>
          <dgm:hierBranch val="init"/>
        </dgm:presLayoutVars>
      </dgm:prSet>
      <dgm:spPr/>
    </dgm:pt>
    <dgm:pt modelId="{A4FC3501-78A2-4671-A0AB-BF19FE9FFF25}" type="pres">
      <dgm:prSet presAssocID="{0CE368C0-8771-41E1-832F-16A3360E23C2}" presName="rootComposite" presStyleCnt="0"/>
      <dgm:spPr/>
    </dgm:pt>
    <dgm:pt modelId="{19B87749-5CF6-4060-B150-AC5737AF283E}" type="pres">
      <dgm:prSet presAssocID="{0CE368C0-8771-41E1-832F-16A3360E23C2}" presName="rootText" presStyleLbl="node1" presStyleIdx="2" presStyleCnt="5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2AE71185-86DD-4FDE-8A3E-1D027FBEDC6D}" type="pres">
      <dgm:prSet presAssocID="{0CE368C0-8771-41E1-832F-16A3360E23C2}" presName="titleText2" presStyleLbl="fgAcc1" presStyleIdx="2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DFB47E7C-CA7E-4AC3-8902-2B475AEF3B1E}" type="pres">
      <dgm:prSet presAssocID="{0CE368C0-8771-41E1-832F-16A3360E23C2}" presName="rootConnector" presStyleLbl="node4" presStyleIdx="0" presStyleCnt="0"/>
      <dgm:spPr/>
      <dgm:t>
        <a:bodyPr/>
        <a:lstStyle/>
        <a:p>
          <a:endParaRPr lang="en-US"/>
        </a:p>
      </dgm:t>
    </dgm:pt>
    <dgm:pt modelId="{8B1C2321-3FCD-4D46-88F2-EDD6D928F465}" type="pres">
      <dgm:prSet presAssocID="{0CE368C0-8771-41E1-832F-16A3360E23C2}" presName="hierChild4" presStyleCnt="0"/>
      <dgm:spPr/>
    </dgm:pt>
    <dgm:pt modelId="{920326D3-215B-4A2C-80C7-3243A9BFFFC6}" type="pres">
      <dgm:prSet presAssocID="{0CE368C0-8771-41E1-832F-16A3360E23C2}" presName="hierChild5" presStyleCnt="0"/>
      <dgm:spPr/>
    </dgm:pt>
    <dgm:pt modelId="{0E2837EA-7A9C-40C5-BD36-1368C273EECE}" type="pres">
      <dgm:prSet presAssocID="{DB621FDC-5909-4344-8D9D-BE3C2AE0E3D7}" presName="hierChild5" presStyleCnt="0"/>
      <dgm:spPr/>
    </dgm:pt>
    <dgm:pt modelId="{079ADF2C-7D1C-4CE2-BDA7-CDBE59F18014}" type="pres">
      <dgm:prSet presAssocID="{0E055442-FE41-47C5-9D95-C8E3417880AB}" presName="hierChild5" presStyleCnt="0"/>
      <dgm:spPr/>
    </dgm:pt>
    <dgm:pt modelId="{7C692710-FE1E-4FF9-B776-3DFCF17F65AF}" type="pres">
      <dgm:prSet presAssocID="{973511AB-96D9-4C25-A8CA-9FABB9C345F3}" presName="Name37" presStyleLbl="parChTrans1D2" presStyleIdx="1" presStyleCnt="3"/>
      <dgm:spPr/>
      <dgm:t>
        <a:bodyPr/>
        <a:lstStyle/>
        <a:p>
          <a:endParaRPr lang="en-US"/>
        </a:p>
      </dgm:t>
    </dgm:pt>
    <dgm:pt modelId="{68F6F831-6CFE-45B1-8847-2BB2F2127A7F}" type="pres">
      <dgm:prSet presAssocID="{57AFC9E6-92E5-41D3-B04B-D902096F72D6}" presName="hierRoot2" presStyleCnt="0">
        <dgm:presLayoutVars>
          <dgm:hierBranch val="init"/>
        </dgm:presLayoutVars>
      </dgm:prSet>
      <dgm:spPr/>
    </dgm:pt>
    <dgm:pt modelId="{840B1494-1B7F-4908-9D7B-CB9857763903}" type="pres">
      <dgm:prSet presAssocID="{57AFC9E6-92E5-41D3-B04B-D902096F72D6}" presName="rootComposite" presStyleCnt="0"/>
      <dgm:spPr/>
    </dgm:pt>
    <dgm:pt modelId="{4D0584A6-6242-460F-9334-D770546A688B}" type="pres">
      <dgm:prSet presAssocID="{57AFC9E6-92E5-41D3-B04B-D902096F72D6}" presName="rootText" presStyleLbl="node1" presStyleIdx="3" presStyleCnt="5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CFC074AB-9141-41C7-8E99-10BE29ADB71C}" type="pres">
      <dgm:prSet presAssocID="{57AFC9E6-92E5-41D3-B04B-D902096F72D6}" presName="titleText2" presStyleLbl="fgAcc1" presStyleIdx="3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471E5C9-CFB6-498D-AB38-EDC8847A1085}" type="pres">
      <dgm:prSet presAssocID="{57AFC9E6-92E5-41D3-B04B-D902096F72D6}" presName="rootConnector" presStyleLbl="node2" presStyleIdx="0" presStyleCnt="0"/>
      <dgm:spPr/>
      <dgm:t>
        <a:bodyPr/>
        <a:lstStyle/>
        <a:p>
          <a:endParaRPr lang="en-US"/>
        </a:p>
      </dgm:t>
    </dgm:pt>
    <dgm:pt modelId="{CB79278C-725B-4B86-8C93-FA8264B4BF82}" type="pres">
      <dgm:prSet presAssocID="{57AFC9E6-92E5-41D3-B04B-D902096F72D6}" presName="hierChild4" presStyleCnt="0"/>
      <dgm:spPr/>
    </dgm:pt>
    <dgm:pt modelId="{85C47B00-3E63-454F-9C63-E6D19C0B905B}" type="pres">
      <dgm:prSet presAssocID="{57AFC9E6-92E5-41D3-B04B-D902096F72D6}" presName="hierChild5" presStyleCnt="0"/>
      <dgm:spPr/>
    </dgm:pt>
    <dgm:pt modelId="{D0F3EE31-0384-4577-906E-76AC42F8BB25}" type="pres">
      <dgm:prSet presAssocID="{3F614571-7D7C-4849-B4E1-875DB3221B75}" presName="Name37" presStyleLbl="parChTrans1D2" presStyleIdx="2" presStyleCnt="3"/>
      <dgm:spPr/>
      <dgm:t>
        <a:bodyPr/>
        <a:lstStyle/>
        <a:p>
          <a:endParaRPr lang="en-US"/>
        </a:p>
      </dgm:t>
    </dgm:pt>
    <dgm:pt modelId="{7F8DFB63-4EA6-429B-A3A4-A323037BDAA9}" type="pres">
      <dgm:prSet presAssocID="{D3B76DD8-F1BC-4A4B-8236-5DBE51B68581}" presName="hierRoot2" presStyleCnt="0">
        <dgm:presLayoutVars>
          <dgm:hierBranch val="init"/>
        </dgm:presLayoutVars>
      </dgm:prSet>
      <dgm:spPr/>
    </dgm:pt>
    <dgm:pt modelId="{99B6017C-C7DF-4D5D-91DF-C7BEC39650B1}" type="pres">
      <dgm:prSet presAssocID="{D3B76DD8-F1BC-4A4B-8236-5DBE51B68581}" presName="rootComposite" presStyleCnt="0"/>
      <dgm:spPr/>
    </dgm:pt>
    <dgm:pt modelId="{2CC925CE-74FD-47A6-AC86-7AF2809D692E}" type="pres">
      <dgm:prSet presAssocID="{D3B76DD8-F1BC-4A4B-8236-5DBE51B68581}" presName="rootText" presStyleLbl="node1" presStyleIdx="4" presStyleCnt="5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28E1D97-6078-4449-BD97-CF417BDD7499}" type="pres">
      <dgm:prSet presAssocID="{D3B76DD8-F1BC-4A4B-8236-5DBE51B68581}" presName="titleText2" presStyleLbl="fgAcc1" presStyleIdx="4" presStyleCnt="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E80F964-9279-46F7-90CA-7C11EA343971}" type="pres">
      <dgm:prSet presAssocID="{D3B76DD8-F1BC-4A4B-8236-5DBE51B68581}" presName="rootConnector" presStyleLbl="node2" presStyleIdx="0" presStyleCnt="0"/>
      <dgm:spPr/>
      <dgm:t>
        <a:bodyPr/>
        <a:lstStyle/>
        <a:p>
          <a:endParaRPr lang="en-US"/>
        </a:p>
      </dgm:t>
    </dgm:pt>
    <dgm:pt modelId="{F79BFDB8-5773-42C7-BAF1-BFC9888B56BC}" type="pres">
      <dgm:prSet presAssocID="{D3B76DD8-F1BC-4A4B-8236-5DBE51B68581}" presName="hierChild4" presStyleCnt="0"/>
      <dgm:spPr/>
    </dgm:pt>
    <dgm:pt modelId="{02C85107-6729-4243-A6AA-D448DF837BC9}" type="pres">
      <dgm:prSet presAssocID="{D3B76DD8-F1BC-4A4B-8236-5DBE51B68581}" presName="hierChild5" presStyleCnt="0"/>
      <dgm:spPr/>
    </dgm:pt>
    <dgm:pt modelId="{6634495F-3120-4B36-BE55-2FCDCDFFBDC1}" type="pres">
      <dgm:prSet presAssocID="{A76261EB-0171-495F-B01C-FEE19C336E95}" presName="hierChild3" presStyleCnt="0"/>
      <dgm:spPr/>
    </dgm:pt>
  </dgm:ptLst>
  <dgm:cxnLst>
    <dgm:cxn modelId="{76539DB3-2CC1-4A82-A575-FA67930493B1}" type="presOf" srcId="{973511AB-96D9-4C25-A8CA-9FABB9C345F3}" destId="{7C692710-FE1E-4FF9-B776-3DFCF17F65AF}" srcOrd="0" destOrd="0" presId="urn:microsoft.com/office/officeart/2008/layout/NameandTitleOrganizationalChart"/>
    <dgm:cxn modelId="{2115E3AE-8BB4-469E-BBFD-8FC4A087D7B0}" type="presOf" srcId="{58328D93-0B9C-4CAC-A9FA-EDAB68EDA174}" destId="{FBEB037B-17F3-420F-BC79-B5593FE565C9}" srcOrd="0" destOrd="0" presId="urn:microsoft.com/office/officeart/2008/layout/NameandTitleOrganizationalChart"/>
    <dgm:cxn modelId="{9B21C84F-F789-425B-BEE3-7C629E3990C6}" type="presOf" srcId="{F41044CF-DCFF-4182-848F-D8E4EA298040}" destId="{928E1D97-6078-4449-BD97-CF417BDD7499}" srcOrd="0" destOrd="0" presId="urn:microsoft.com/office/officeart/2008/layout/NameandTitleOrganizationalChart"/>
    <dgm:cxn modelId="{A430B16D-7DC5-453D-BEC9-455ACA4CBECC}" type="presOf" srcId="{A76261EB-0171-495F-B01C-FEE19C336E95}" destId="{179396DE-4BC8-4DD5-A4F4-A2E3DF862D89}" srcOrd="0" destOrd="0" presId="urn:microsoft.com/office/officeart/2008/layout/NameandTitleOrganizationalChart"/>
    <dgm:cxn modelId="{6CF25B87-64D5-4D77-98FD-820D2ADF23EF}" type="presOf" srcId="{57AFC9E6-92E5-41D3-B04B-D902096F72D6}" destId="{4D0584A6-6242-460F-9334-D770546A688B}" srcOrd="0" destOrd="0" presId="urn:microsoft.com/office/officeart/2008/layout/NameandTitleOrganizationalChart"/>
    <dgm:cxn modelId="{F765C1C9-8E43-4E51-9A94-E91E894CB793}" type="presOf" srcId="{D089DF42-35E3-4C2E-A495-3266A484CCF5}" destId="{9612EBEE-C49E-4842-BE92-B4FB1F31EA49}" srcOrd="0" destOrd="0" presId="urn:microsoft.com/office/officeart/2008/layout/NameandTitleOrganizationalChart"/>
    <dgm:cxn modelId="{7E521CA2-105F-444F-B538-62A976821B2B}" type="presOf" srcId="{57AFC9E6-92E5-41D3-B04B-D902096F72D6}" destId="{4471E5C9-CFB6-498D-AB38-EDC8847A1085}" srcOrd="1" destOrd="0" presId="urn:microsoft.com/office/officeart/2008/layout/NameandTitleOrganizationalChart"/>
    <dgm:cxn modelId="{CD13AA2E-DAE5-485A-ADBE-AB3D1D1D6E5E}" srcId="{DB621FDC-5909-4344-8D9D-BE3C2AE0E3D7}" destId="{0CE368C0-8771-41E1-832F-16A3360E23C2}" srcOrd="0" destOrd="0" parTransId="{58328D93-0B9C-4CAC-A9FA-EDAB68EDA174}" sibTransId="{1CB27ED1-218B-41D6-9C08-04B9EB3E7C00}"/>
    <dgm:cxn modelId="{8BC20B53-BF20-4267-9BA5-DD3A81463EDA}" type="presOf" srcId="{B7BD25F5-6302-4893-93F2-52FDF5B4EBAD}" destId="{46D85903-DF24-4866-AC5B-7BFE4D06677E}" srcOrd="0" destOrd="0" presId="urn:microsoft.com/office/officeart/2008/layout/NameandTitleOrganizationalChart"/>
    <dgm:cxn modelId="{85BD7D69-2EE2-4B00-AE51-D98F24BF3A7A}" type="presOf" srcId="{DB621FDC-5909-4344-8D9D-BE3C2AE0E3D7}" destId="{DD2C2D96-F3DE-4726-A0A4-DFDFC86C50C6}" srcOrd="1" destOrd="0" presId="urn:microsoft.com/office/officeart/2008/layout/NameandTitleOrganizationalChart"/>
    <dgm:cxn modelId="{1377F8C5-7EDB-4C22-8EE5-F882541874C7}" type="presOf" srcId="{1CB27ED1-218B-41D6-9C08-04B9EB3E7C00}" destId="{2AE71185-86DD-4FDE-8A3E-1D027FBEDC6D}" srcOrd="0" destOrd="0" presId="urn:microsoft.com/office/officeart/2008/layout/NameandTitleOrganizationalChart"/>
    <dgm:cxn modelId="{274A1F77-1CB8-47C3-AAA6-6D821050981E}" type="presOf" srcId="{0CE368C0-8771-41E1-832F-16A3360E23C2}" destId="{19B87749-5CF6-4060-B150-AC5737AF283E}" srcOrd="0" destOrd="0" presId="urn:microsoft.com/office/officeart/2008/layout/NameandTitleOrganizationalChart"/>
    <dgm:cxn modelId="{F3E4EDAE-A413-4999-9574-B1353EE554F7}" type="presOf" srcId="{DB621FDC-5909-4344-8D9D-BE3C2AE0E3D7}" destId="{F368093F-5616-4787-BBE1-7502D1A81C55}" srcOrd="0" destOrd="0" presId="urn:microsoft.com/office/officeart/2008/layout/NameandTitleOrganizationalChart"/>
    <dgm:cxn modelId="{C5CE9126-1A06-4F21-A243-755CA69CE125}" type="presOf" srcId="{0E055442-FE41-47C5-9D95-C8E3417880AB}" destId="{833B6F7C-F20C-4ACD-9703-742AA914FD73}" srcOrd="1" destOrd="0" presId="urn:microsoft.com/office/officeart/2008/layout/NameandTitleOrganizationalChart"/>
    <dgm:cxn modelId="{C16B568E-DDB6-4391-93D0-881C1E46FF3E}" type="presOf" srcId="{3E75E917-A50C-420A-AA35-059FF8459A10}" destId="{52FE3C7C-536D-4A02-883C-915D928CB6F9}" srcOrd="0" destOrd="0" presId="urn:microsoft.com/office/officeart/2008/layout/NameandTitleOrganizationalChart"/>
    <dgm:cxn modelId="{C145884A-C1CE-4E06-B0A9-2672C01114BB}" srcId="{A76261EB-0171-495F-B01C-FEE19C336E95}" destId="{57AFC9E6-92E5-41D3-B04B-D902096F72D6}" srcOrd="1" destOrd="0" parTransId="{973511AB-96D9-4C25-A8CA-9FABB9C345F3}" sibTransId="{6CBE751C-5D9D-413A-A7B4-2F4AE3EEB9F9}"/>
    <dgm:cxn modelId="{E4575097-B293-407B-983A-5215BE9C6B9D}" srcId="{A76261EB-0171-495F-B01C-FEE19C336E95}" destId="{0E055442-FE41-47C5-9D95-C8E3417880AB}" srcOrd="0" destOrd="0" parTransId="{3E75E917-A50C-420A-AA35-059FF8459A10}" sibTransId="{B8FD46C9-DCB8-468F-A3E0-F1B732362C04}"/>
    <dgm:cxn modelId="{E789C7C1-7095-4E97-B450-FA8FED4C0146}" srcId="{B7BD25F5-6302-4893-93F2-52FDF5B4EBAD}" destId="{A76261EB-0171-495F-B01C-FEE19C336E95}" srcOrd="0" destOrd="0" parTransId="{251F7718-5450-4C52-A6D6-15B812BA51FC}" sibTransId="{D089DF42-35E3-4C2E-A495-3266A484CCF5}"/>
    <dgm:cxn modelId="{BE7F722C-53C8-4E41-A465-5988EC534E4A}" type="presOf" srcId="{6CBE751C-5D9D-413A-A7B4-2F4AE3EEB9F9}" destId="{CFC074AB-9141-41C7-8E99-10BE29ADB71C}" srcOrd="0" destOrd="0" presId="urn:microsoft.com/office/officeart/2008/layout/NameandTitleOrganizationalChart"/>
    <dgm:cxn modelId="{BA20251D-3EC3-4F1F-9CC2-2880C4642E3D}" srcId="{A76261EB-0171-495F-B01C-FEE19C336E95}" destId="{D3B76DD8-F1BC-4A4B-8236-5DBE51B68581}" srcOrd="2" destOrd="0" parTransId="{3F614571-7D7C-4849-B4E1-875DB3221B75}" sibTransId="{F41044CF-DCFF-4182-848F-D8E4EA298040}"/>
    <dgm:cxn modelId="{59F3F6FD-C6F5-4A27-A6C4-ED382A9C8B53}" type="presOf" srcId="{3F614571-7D7C-4849-B4E1-875DB3221B75}" destId="{D0F3EE31-0384-4577-906E-76AC42F8BB25}" srcOrd="0" destOrd="0" presId="urn:microsoft.com/office/officeart/2008/layout/NameandTitleOrganizationalChart"/>
    <dgm:cxn modelId="{11BA13EA-DC5B-4988-ABE5-793F403CED4B}" srcId="{0E055442-FE41-47C5-9D95-C8E3417880AB}" destId="{DB621FDC-5909-4344-8D9D-BE3C2AE0E3D7}" srcOrd="0" destOrd="0" parTransId="{2E0151E9-33E1-4754-92FF-57EC2475B379}" sibTransId="{06BB1840-35BC-4874-A1E6-A73503937198}"/>
    <dgm:cxn modelId="{F9976F59-27EE-48A7-A5A5-EF5490598C9E}" type="presOf" srcId="{06BB1840-35BC-4874-A1E6-A73503937198}" destId="{1F1F3A79-5C32-42BF-A074-35B2DBEAA21A}" srcOrd="0" destOrd="0" presId="urn:microsoft.com/office/officeart/2008/layout/NameandTitleOrganizationalChart"/>
    <dgm:cxn modelId="{E7361187-C86C-4AA3-8570-A23E76DD8FD6}" type="presOf" srcId="{B8FD46C9-DCB8-468F-A3E0-F1B732362C04}" destId="{82EB87DA-1A26-4090-AD1E-2DE64651FD06}" srcOrd="0" destOrd="0" presId="urn:microsoft.com/office/officeart/2008/layout/NameandTitleOrganizationalChart"/>
    <dgm:cxn modelId="{A504681F-2B0D-4439-A284-41FB4780F66D}" type="presOf" srcId="{2E0151E9-33E1-4754-92FF-57EC2475B379}" destId="{B83DFCE0-7047-4341-BFDF-EFE14743AC60}" srcOrd="0" destOrd="0" presId="urn:microsoft.com/office/officeart/2008/layout/NameandTitleOrganizationalChart"/>
    <dgm:cxn modelId="{08F62502-DF3E-48C8-8BDD-0C733BD09C81}" type="presOf" srcId="{0CE368C0-8771-41E1-832F-16A3360E23C2}" destId="{DFB47E7C-CA7E-4AC3-8902-2B475AEF3B1E}" srcOrd="1" destOrd="0" presId="urn:microsoft.com/office/officeart/2008/layout/NameandTitleOrganizationalChart"/>
    <dgm:cxn modelId="{7AFDCB20-E59C-48F1-B53B-8CDB6F942BC4}" type="presOf" srcId="{D3B76DD8-F1BC-4A4B-8236-5DBE51B68581}" destId="{2CC925CE-74FD-47A6-AC86-7AF2809D692E}" srcOrd="0" destOrd="0" presId="urn:microsoft.com/office/officeart/2008/layout/NameandTitleOrganizationalChart"/>
    <dgm:cxn modelId="{CF0748C1-4BC7-4130-8EBA-448BB3FEA5FD}" type="presOf" srcId="{D3B76DD8-F1BC-4A4B-8236-5DBE51B68581}" destId="{BE80F964-9279-46F7-90CA-7C11EA343971}" srcOrd="1" destOrd="0" presId="urn:microsoft.com/office/officeart/2008/layout/NameandTitleOrganizationalChart"/>
    <dgm:cxn modelId="{AD6CFF56-7D45-40FA-8463-6110DFD95F79}" type="presOf" srcId="{0E055442-FE41-47C5-9D95-C8E3417880AB}" destId="{1AD1E644-3FD8-417E-82B8-0BAF464C1A1A}" srcOrd="0" destOrd="0" presId="urn:microsoft.com/office/officeart/2008/layout/NameandTitleOrganizationalChart"/>
    <dgm:cxn modelId="{B3A5045B-CD47-4378-BA03-CC1EC0B70867}" type="presOf" srcId="{A76261EB-0171-495F-B01C-FEE19C336E95}" destId="{23F94806-473D-4106-8B71-2E3D523486AB}" srcOrd="1" destOrd="0" presId="urn:microsoft.com/office/officeart/2008/layout/NameandTitleOrganizationalChart"/>
    <dgm:cxn modelId="{20A9D2C0-3C05-42EF-9996-D7DA871029F2}" type="presParOf" srcId="{46D85903-DF24-4866-AC5B-7BFE4D06677E}" destId="{24318B39-1C2B-48D4-8402-FB2CD165870C}" srcOrd="0" destOrd="0" presId="urn:microsoft.com/office/officeart/2008/layout/NameandTitleOrganizationalChart"/>
    <dgm:cxn modelId="{C7037DF8-8A81-4FB4-86EA-12573E2238EC}" type="presParOf" srcId="{24318B39-1C2B-48D4-8402-FB2CD165870C}" destId="{2352F99D-4AE7-4087-81AE-A79E26AB0FFE}" srcOrd="0" destOrd="0" presId="urn:microsoft.com/office/officeart/2008/layout/NameandTitleOrganizationalChart"/>
    <dgm:cxn modelId="{F5842939-8002-4A62-8070-B414F05962CC}" type="presParOf" srcId="{2352F99D-4AE7-4087-81AE-A79E26AB0FFE}" destId="{179396DE-4BC8-4DD5-A4F4-A2E3DF862D89}" srcOrd="0" destOrd="0" presId="urn:microsoft.com/office/officeart/2008/layout/NameandTitleOrganizationalChart"/>
    <dgm:cxn modelId="{04962A07-4393-4446-9EE6-5AD09FAE8F80}" type="presParOf" srcId="{2352F99D-4AE7-4087-81AE-A79E26AB0FFE}" destId="{9612EBEE-C49E-4842-BE92-B4FB1F31EA49}" srcOrd="1" destOrd="0" presId="urn:microsoft.com/office/officeart/2008/layout/NameandTitleOrganizationalChart"/>
    <dgm:cxn modelId="{0C7171C8-7609-424B-AC1B-CAA4910EDE0E}" type="presParOf" srcId="{2352F99D-4AE7-4087-81AE-A79E26AB0FFE}" destId="{23F94806-473D-4106-8B71-2E3D523486AB}" srcOrd="2" destOrd="0" presId="urn:microsoft.com/office/officeart/2008/layout/NameandTitleOrganizationalChart"/>
    <dgm:cxn modelId="{11A1D74D-23A7-418B-B846-8B56407ECF04}" type="presParOf" srcId="{24318B39-1C2B-48D4-8402-FB2CD165870C}" destId="{FA007652-64FC-486C-B08C-DC129C7DBF3D}" srcOrd="1" destOrd="0" presId="urn:microsoft.com/office/officeart/2008/layout/NameandTitleOrganizationalChart"/>
    <dgm:cxn modelId="{CF958647-F561-47B2-93EE-DAE2F0734B9A}" type="presParOf" srcId="{FA007652-64FC-486C-B08C-DC129C7DBF3D}" destId="{52FE3C7C-536D-4A02-883C-915D928CB6F9}" srcOrd="0" destOrd="0" presId="urn:microsoft.com/office/officeart/2008/layout/NameandTitleOrganizationalChart"/>
    <dgm:cxn modelId="{A0D6627D-3EEF-421D-B2C6-21A6C77CC437}" type="presParOf" srcId="{FA007652-64FC-486C-B08C-DC129C7DBF3D}" destId="{9CBF65CB-3F42-4CF3-8951-F9CAF298345F}" srcOrd="1" destOrd="0" presId="urn:microsoft.com/office/officeart/2008/layout/NameandTitleOrganizationalChart"/>
    <dgm:cxn modelId="{0989B4AB-E75F-47EE-99CD-5C2E15F17436}" type="presParOf" srcId="{9CBF65CB-3F42-4CF3-8951-F9CAF298345F}" destId="{2C3249AD-5D85-43B3-94E2-700049A240E4}" srcOrd="0" destOrd="0" presId="urn:microsoft.com/office/officeart/2008/layout/NameandTitleOrganizationalChart"/>
    <dgm:cxn modelId="{799EBEB5-7FE7-4085-B279-9816E03D6C6A}" type="presParOf" srcId="{2C3249AD-5D85-43B3-94E2-700049A240E4}" destId="{1AD1E644-3FD8-417E-82B8-0BAF464C1A1A}" srcOrd="0" destOrd="0" presId="urn:microsoft.com/office/officeart/2008/layout/NameandTitleOrganizationalChart"/>
    <dgm:cxn modelId="{9B9BBE9D-6530-48BD-968C-E7F85DF9F8EB}" type="presParOf" srcId="{2C3249AD-5D85-43B3-94E2-700049A240E4}" destId="{82EB87DA-1A26-4090-AD1E-2DE64651FD06}" srcOrd="1" destOrd="0" presId="urn:microsoft.com/office/officeart/2008/layout/NameandTitleOrganizationalChart"/>
    <dgm:cxn modelId="{4989EEE3-BC34-485E-AB94-4C336D56D8D7}" type="presParOf" srcId="{2C3249AD-5D85-43B3-94E2-700049A240E4}" destId="{833B6F7C-F20C-4ACD-9703-742AA914FD73}" srcOrd="2" destOrd="0" presId="urn:microsoft.com/office/officeart/2008/layout/NameandTitleOrganizationalChart"/>
    <dgm:cxn modelId="{DF409C86-D5A7-445B-963C-F915535A76F4}" type="presParOf" srcId="{9CBF65CB-3F42-4CF3-8951-F9CAF298345F}" destId="{CBA015C2-8084-417F-95B4-01483A02857D}" srcOrd="1" destOrd="0" presId="urn:microsoft.com/office/officeart/2008/layout/NameandTitleOrganizationalChart"/>
    <dgm:cxn modelId="{A49FFF69-2123-4B98-8A62-3FCCE00F6A50}" type="presParOf" srcId="{CBA015C2-8084-417F-95B4-01483A02857D}" destId="{B83DFCE0-7047-4341-BFDF-EFE14743AC60}" srcOrd="0" destOrd="0" presId="urn:microsoft.com/office/officeart/2008/layout/NameandTitleOrganizationalChart"/>
    <dgm:cxn modelId="{33AD64D8-0653-4073-BEA4-259A7E92F47A}" type="presParOf" srcId="{CBA015C2-8084-417F-95B4-01483A02857D}" destId="{2CB3BF85-F988-47DC-8EF2-D1E852C545F5}" srcOrd="1" destOrd="0" presId="urn:microsoft.com/office/officeart/2008/layout/NameandTitleOrganizationalChart"/>
    <dgm:cxn modelId="{41F02513-F101-4165-B32B-83C390006762}" type="presParOf" srcId="{2CB3BF85-F988-47DC-8EF2-D1E852C545F5}" destId="{6EACD98D-CE14-4242-A66C-16581D07AC2E}" srcOrd="0" destOrd="0" presId="urn:microsoft.com/office/officeart/2008/layout/NameandTitleOrganizationalChart"/>
    <dgm:cxn modelId="{411DF96A-F302-4F9F-9E09-AA7DDE8A51D2}" type="presParOf" srcId="{6EACD98D-CE14-4242-A66C-16581D07AC2E}" destId="{F368093F-5616-4787-BBE1-7502D1A81C55}" srcOrd="0" destOrd="0" presId="urn:microsoft.com/office/officeart/2008/layout/NameandTitleOrganizationalChart"/>
    <dgm:cxn modelId="{0F29941D-9883-4D31-873D-09C87723AB02}" type="presParOf" srcId="{6EACD98D-CE14-4242-A66C-16581D07AC2E}" destId="{1F1F3A79-5C32-42BF-A074-35B2DBEAA21A}" srcOrd="1" destOrd="0" presId="urn:microsoft.com/office/officeart/2008/layout/NameandTitleOrganizationalChart"/>
    <dgm:cxn modelId="{941ED32A-003D-4B1B-BBD3-3E0F6B65E2FA}" type="presParOf" srcId="{6EACD98D-CE14-4242-A66C-16581D07AC2E}" destId="{DD2C2D96-F3DE-4726-A0A4-DFDFC86C50C6}" srcOrd="2" destOrd="0" presId="urn:microsoft.com/office/officeart/2008/layout/NameandTitleOrganizationalChart"/>
    <dgm:cxn modelId="{9602862C-B37C-40B8-B8AE-E1868B51FD57}" type="presParOf" srcId="{2CB3BF85-F988-47DC-8EF2-D1E852C545F5}" destId="{ECA7B03D-7717-454B-A610-045DDCF2F107}" srcOrd="1" destOrd="0" presId="urn:microsoft.com/office/officeart/2008/layout/NameandTitleOrganizationalChart"/>
    <dgm:cxn modelId="{22DAD741-76EA-41F6-A6C4-20E3EA9A28F1}" type="presParOf" srcId="{ECA7B03D-7717-454B-A610-045DDCF2F107}" destId="{FBEB037B-17F3-420F-BC79-B5593FE565C9}" srcOrd="0" destOrd="0" presId="urn:microsoft.com/office/officeart/2008/layout/NameandTitleOrganizationalChart"/>
    <dgm:cxn modelId="{57E3981D-D56A-4A46-9DDA-306F638453CA}" type="presParOf" srcId="{ECA7B03D-7717-454B-A610-045DDCF2F107}" destId="{7478A106-016B-46B1-B0DA-B975B7EE0397}" srcOrd="1" destOrd="0" presId="urn:microsoft.com/office/officeart/2008/layout/NameandTitleOrganizationalChart"/>
    <dgm:cxn modelId="{D0824698-86D1-4844-8DE8-327A3FC0DB85}" type="presParOf" srcId="{7478A106-016B-46B1-B0DA-B975B7EE0397}" destId="{A4FC3501-78A2-4671-A0AB-BF19FE9FFF25}" srcOrd="0" destOrd="0" presId="urn:microsoft.com/office/officeart/2008/layout/NameandTitleOrganizationalChart"/>
    <dgm:cxn modelId="{50C2AF45-97AC-42DE-9B26-763FC8AD29FA}" type="presParOf" srcId="{A4FC3501-78A2-4671-A0AB-BF19FE9FFF25}" destId="{19B87749-5CF6-4060-B150-AC5737AF283E}" srcOrd="0" destOrd="0" presId="urn:microsoft.com/office/officeart/2008/layout/NameandTitleOrganizationalChart"/>
    <dgm:cxn modelId="{B5FDA1A8-C0F1-4230-A01B-1A6085A7454B}" type="presParOf" srcId="{A4FC3501-78A2-4671-A0AB-BF19FE9FFF25}" destId="{2AE71185-86DD-4FDE-8A3E-1D027FBEDC6D}" srcOrd="1" destOrd="0" presId="urn:microsoft.com/office/officeart/2008/layout/NameandTitleOrganizationalChart"/>
    <dgm:cxn modelId="{C9320876-3328-49DB-BAC2-EEA349A9B37F}" type="presParOf" srcId="{A4FC3501-78A2-4671-A0AB-BF19FE9FFF25}" destId="{DFB47E7C-CA7E-4AC3-8902-2B475AEF3B1E}" srcOrd="2" destOrd="0" presId="urn:microsoft.com/office/officeart/2008/layout/NameandTitleOrganizationalChart"/>
    <dgm:cxn modelId="{6C7D25A8-D499-47A9-B4E6-843C116BE941}" type="presParOf" srcId="{7478A106-016B-46B1-B0DA-B975B7EE0397}" destId="{8B1C2321-3FCD-4D46-88F2-EDD6D928F465}" srcOrd="1" destOrd="0" presId="urn:microsoft.com/office/officeart/2008/layout/NameandTitleOrganizationalChart"/>
    <dgm:cxn modelId="{0EEB80B6-9371-4BB6-ABBE-B6FADF324F7E}" type="presParOf" srcId="{7478A106-016B-46B1-B0DA-B975B7EE0397}" destId="{920326D3-215B-4A2C-80C7-3243A9BFFFC6}" srcOrd="2" destOrd="0" presId="urn:microsoft.com/office/officeart/2008/layout/NameandTitleOrganizationalChart"/>
    <dgm:cxn modelId="{5C31DC63-A59C-48C5-ABD4-89608D3E789F}" type="presParOf" srcId="{2CB3BF85-F988-47DC-8EF2-D1E852C545F5}" destId="{0E2837EA-7A9C-40C5-BD36-1368C273EECE}" srcOrd="2" destOrd="0" presId="urn:microsoft.com/office/officeart/2008/layout/NameandTitleOrganizationalChart"/>
    <dgm:cxn modelId="{572955DB-4AAF-47D1-9EDF-BDE48C2B86EF}" type="presParOf" srcId="{9CBF65CB-3F42-4CF3-8951-F9CAF298345F}" destId="{079ADF2C-7D1C-4CE2-BDA7-CDBE59F18014}" srcOrd="2" destOrd="0" presId="urn:microsoft.com/office/officeart/2008/layout/NameandTitleOrganizationalChart"/>
    <dgm:cxn modelId="{EEBC0EF4-9F24-4A40-931A-0488D61B16F2}" type="presParOf" srcId="{FA007652-64FC-486C-B08C-DC129C7DBF3D}" destId="{7C692710-FE1E-4FF9-B776-3DFCF17F65AF}" srcOrd="2" destOrd="0" presId="urn:microsoft.com/office/officeart/2008/layout/NameandTitleOrganizationalChart"/>
    <dgm:cxn modelId="{6D065ADF-5FA7-414E-A029-029B4F6998EC}" type="presParOf" srcId="{FA007652-64FC-486C-B08C-DC129C7DBF3D}" destId="{68F6F831-6CFE-45B1-8847-2BB2F2127A7F}" srcOrd="3" destOrd="0" presId="urn:microsoft.com/office/officeart/2008/layout/NameandTitleOrganizationalChart"/>
    <dgm:cxn modelId="{9A678A48-CDDC-45E8-B6CD-910E38030735}" type="presParOf" srcId="{68F6F831-6CFE-45B1-8847-2BB2F2127A7F}" destId="{840B1494-1B7F-4908-9D7B-CB9857763903}" srcOrd="0" destOrd="0" presId="urn:microsoft.com/office/officeart/2008/layout/NameandTitleOrganizationalChart"/>
    <dgm:cxn modelId="{0AB42C60-1F5F-4B48-87B5-26969277A58F}" type="presParOf" srcId="{840B1494-1B7F-4908-9D7B-CB9857763903}" destId="{4D0584A6-6242-460F-9334-D770546A688B}" srcOrd="0" destOrd="0" presId="urn:microsoft.com/office/officeart/2008/layout/NameandTitleOrganizationalChart"/>
    <dgm:cxn modelId="{A48307C3-751F-4AA3-89BB-EE07C054354F}" type="presParOf" srcId="{840B1494-1B7F-4908-9D7B-CB9857763903}" destId="{CFC074AB-9141-41C7-8E99-10BE29ADB71C}" srcOrd="1" destOrd="0" presId="urn:microsoft.com/office/officeart/2008/layout/NameandTitleOrganizationalChart"/>
    <dgm:cxn modelId="{392DC3F9-9651-459B-B245-68C2595A0B13}" type="presParOf" srcId="{840B1494-1B7F-4908-9D7B-CB9857763903}" destId="{4471E5C9-CFB6-498D-AB38-EDC8847A1085}" srcOrd="2" destOrd="0" presId="urn:microsoft.com/office/officeart/2008/layout/NameandTitleOrganizationalChart"/>
    <dgm:cxn modelId="{A3384D9F-F37C-497C-B29B-F2542BB98C2D}" type="presParOf" srcId="{68F6F831-6CFE-45B1-8847-2BB2F2127A7F}" destId="{CB79278C-725B-4B86-8C93-FA8264B4BF82}" srcOrd="1" destOrd="0" presId="urn:microsoft.com/office/officeart/2008/layout/NameandTitleOrganizationalChart"/>
    <dgm:cxn modelId="{6BA1DF3D-5850-4228-BD35-E68FE90739C5}" type="presParOf" srcId="{68F6F831-6CFE-45B1-8847-2BB2F2127A7F}" destId="{85C47B00-3E63-454F-9C63-E6D19C0B905B}" srcOrd="2" destOrd="0" presId="urn:microsoft.com/office/officeart/2008/layout/NameandTitleOrganizationalChart"/>
    <dgm:cxn modelId="{4F8A1F2A-0FB5-472A-B28A-05980CA05D1D}" type="presParOf" srcId="{FA007652-64FC-486C-B08C-DC129C7DBF3D}" destId="{D0F3EE31-0384-4577-906E-76AC42F8BB25}" srcOrd="4" destOrd="0" presId="urn:microsoft.com/office/officeart/2008/layout/NameandTitleOrganizationalChart"/>
    <dgm:cxn modelId="{CE7FA98F-2A1F-4609-A612-BEF3F3DB21EF}" type="presParOf" srcId="{FA007652-64FC-486C-B08C-DC129C7DBF3D}" destId="{7F8DFB63-4EA6-429B-A3A4-A323037BDAA9}" srcOrd="5" destOrd="0" presId="urn:microsoft.com/office/officeart/2008/layout/NameandTitleOrganizationalChart"/>
    <dgm:cxn modelId="{18695DA5-587C-46B4-BC6D-A226A13505DE}" type="presParOf" srcId="{7F8DFB63-4EA6-429B-A3A4-A323037BDAA9}" destId="{99B6017C-C7DF-4D5D-91DF-C7BEC39650B1}" srcOrd="0" destOrd="0" presId="urn:microsoft.com/office/officeart/2008/layout/NameandTitleOrganizationalChart"/>
    <dgm:cxn modelId="{97A1C027-44E6-4D84-993A-26057E284239}" type="presParOf" srcId="{99B6017C-C7DF-4D5D-91DF-C7BEC39650B1}" destId="{2CC925CE-74FD-47A6-AC86-7AF2809D692E}" srcOrd="0" destOrd="0" presId="urn:microsoft.com/office/officeart/2008/layout/NameandTitleOrganizationalChart"/>
    <dgm:cxn modelId="{DA39AE25-36E7-4EED-9A19-BCAC20AC1A4D}" type="presParOf" srcId="{99B6017C-C7DF-4D5D-91DF-C7BEC39650B1}" destId="{928E1D97-6078-4449-BD97-CF417BDD7499}" srcOrd="1" destOrd="0" presId="urn:microsoft.com/office/officeart/2008/layout/NameandTitleOrganizationalChart"/>
    <dgm:cxn modelId="{7DEA89B5-5BA2-4319-8BB6-D3E458015F8B}" type="presParOf" srcId="{99B6017C-C7DF-4D5D-91DF-C7BEC39650B1}" destId="{BE80F964-9279-46F7-90CA-7C11EA343971}" srcOrd="2" destOrd="0" presId="urn:microsoft.com/office/officeart/2008/layout/NameandTitleOrganizationalChart"/>
    <dgm:cxn modelId="{627DDA30-50F5-4587-B7BE-6134230F92CF}" type="presParOf" srcId="{7F8DFB63-4EA6-429B-A3A4-A323037BDAA9}" destId="{F79BFDB8-5773-42C7-BAF1-BFC9888B56BC}" srcOrd="1" destOrd="0" presId="urn:microsoft.com/office/officeart/2008/layout/NameandTitleOrganizationalChart"/>
    <dgm:cxn modelId="{EBFFEBFD-1F79-436B-A7B5-AF1361F2EC5D}" type="presParOf" srcId="{7F8DFB63-4EA6-429B-A3A4-A323037BDAA9}" destId="{02C85107-6729-4243-A6AA-D448DF837BC9}" srcOrd="2" destOrd="0" presId="urn:microsoft.com/office/officeart/2008/layout/NameandTitleOrganizationalChart"/>
    <dgm:cxn modelId="{C31D4D10-92FF-4110-A85C-6E70872CC700}" type="presParOf" srcId="{24318B39-1C2B-48D4-8402-FB2CD165870C}" destId="{6634495F-3120-4B36-BE55-2FCDCDFFBDC1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7BD25F5-6302-4893-93F2-52FDF5B4EBAD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6261EB-0171-495F-B01C-FEE19C336E95}">
      <dgm:prSet phldrT="[Text]"/>
      <dgm:spPr/>
      <dgm:t>
        <a:bodyPr/>
        <a:lstStyle/>
        <a:p>
          <a:r>
            <a:rPr lang="en-US" dirty="0" smtClean="0"/>
            <a:t>Signal</a:t>
          </a:r>
          <a:endParaRPr lang="en-US" dirty="0"/>
        </a:p>
      </dgm:t>
    </dgm:pt>
    <dgm:pt modelId="{251F7718-5450-4C52-A6D6-15B812BA51FC}" type="parTrans" cxnId="{E789C7C1-7095-4E97-B450-FA8FED4C0146}">
      <dgm:prSet/>
      <dgm:spPr/>
      <dgm:t>
        <a:bodyPr/>
        <a:lstStyle/>
        <a:p>
          <a:endParaRPr lang="en-US"/>
        </a:p>
      </dgm:t>
    </dgm:pt>
    <dgm:pt modelId="{D089DF42-35E3-4C2E-A495-3266A484CCF5}" type="sibTrans" cxnId="{E789C7C1-7095-4E97-B450-FA8FED4C0146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57AFC9E6-92E5-41D3-B04B-D902096F72D6}">
      <dgm:prSet phldrT="[Text]"/>
      <dgm:spPr/>
      <dgm:t>
        <a:bodyPr/>
        <a:lstStyle/>
        <a:p>
          <a:r>
            <a:rPr lang="en-US" dirty="0" smtClean="0"/>
            <a:t>Body</a:t>
          </a:r>
          <a:endParaRPr lang="en-US" dirty="0"/>
        </a:p>
      </dgm:t>
    </dgm:pt>
    <dgm:pt modelId="{973511AB-96D9-4C25-A8CA-9FABB9C345F3}" type="parTrans" cxnId="{C145884A-C1CE-4E06-B0A9-2672C01114BB}">
      <dgm:prSet/>
      <dgm:spPr/>
      <dgm:t>
        <a:bodyPr/>
        <a:lstStyle/>
        <a:p>
          <a:endParaRPr lang="en-US"/>
        </a:p>
      </dgm:t>
    </dgm:pt>
    <dgm:pt modelId="{6CBE751C-5D9D-413A-A7B4-2F4AE3EEB9F9}" type="sibTrans" cxnId="{C145884A-C1CE-4E06-B0A9-2672C01114BB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D3B76DD8-F1BC-4A4B-8236-5DBE51B68581}">
      <dgm:prSet phldrT="[Text]"/>
      <dgm:spPr/>
      <dgm:t>
        <a:bodyPr/>
        <a:lstStyle/>
        <a:p>
          <a:r>
            <a:rPr lang="en-US" dirty="0" smtClean="0"/>
            <a:t>Drivetrain</a:t>
          </a:r>
          <a:endParaRPr lang="en-US" dirty="0"/>
        </a:p>
      </dgm:t>
    </dgm:pt>
    <dgm:pt modelId="{3F614571-7D7C-4849-B4E1-875DB3221B75}" type="parTrans" cxnId="{BA20251D-3EC3-4F1F-9CC2-2880C4642E3D}">
      <dgm:prSet/>
      <dgm:spPr/>
      <dgm:t>
        <a:bodyPr/>
        <a:lstStyle/>
        <a:p>
          <a:endParaRPr lang="en-US"/>
        </a:p>
      </dgm:t>
    </dgm:pt>
    <dgm:pt modelId="{F41044CF-DCFF-4182-848F-D8E4EA298040}" type="sibTrans" cxnId="{BA20251D-3EC3-4F1F-9CC2-2880C4642E3D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EDD2EE89-3CD8-445A-A72F-F6CA67BF3858}">
      <dgm:prSet phldrT="[Text]"/>
      <dgm:spPr/>
      <dgm:t>
        <a:bodyPr/>
        <a:lstStyle/>
        <a:p>
          <a:r>
            <a:rPr lang="en-US" smtClean="0"/>
            <a:t>Vehicle</a:t>
          </a:r>
          <a:endParaRPr lang="en-US" dirty="0"/>
        </a:p>
      </dgm:t>
    </dgm:pt>
    <dgm:pt modelId="{93A7C478-B540-48D0-A1D9-3E1312CFDBB5}" type="parTrans" cxnId="{F2D06975-6861-40FF-A46B-5816EC5C5CE3}">
      <dgm:prSet/>
      <dgm:spPr/>
      <dgm:t>
        <a:bodyPr/>
        <a:lstStyle/>
        <a:p>
          <a:endParaRPr lang="en-US"/>
        </a:p>
      </dgm:t>
    </dgm:pt>
    <dgm:pt modelId="{85AB6A1D-114C-47AA-90B9-E5ED5E9FD1B3}" type="sibTrans" cxnId="{F2D06975-6861-40FF-A46B-5816EC5C5CE3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DB05C373-2291-4AE5-ACC7-3A9BD52C6F3E}">
      <dgm:prSet phldrT="[Text]"/>
      <dgm:spPr/>
      <dgm:t>
        <a:bodyPr/>
        <a:lstStyle/>
        <a:p>
          <a:r>
            <a:rPr lang="en-US" dirty="0" err="1" smtClean="0"/>
            <a:t>AverageSpeed</a:t>
          </a:r>
          <a:endParaRPr lang="en-US" dirty="0"/>
        </a:p>
      </dgm:t>
    </dgm:pt>
    <dgm:pt modelId="{A7F1A71E-CFD2-45AE-88CC-4E47CC5CCBD8}" type="parTrans" cxnId="{A9257D10-1DBF-40E4-9996-1C0F3890F03E}">
      <dgm:prSet/>
      <dgm:spPr/>
      <dgm:t>
        <a:bodyPr/>
        <a:lstStyle/>
        <a:p>
          <a:endParaRPr lang="en-US"/>
        </a:p>
      </dgm:t>
    </dgm:pt>
    <dgm:pt modelId="{0CE9F323-7CAD-4ABA-A8F8-A40691E2D682}" type="sibTrans" cxnId="{A9257D10-1DBF-40E4-9996-1C0F3890F03E}">
      <dgm:prSet/>
      <dgm:spPr/>
      <dgm:t>
        <a:bodyPr/>
        <a:lstStyle/>
        <a:p>
          <a:r>
            <a:rPr lang="en-US" dirty="0" smtClean="0">
              <a:solidFill>
                <a:srgbClr val="FF0000"/>
              </a:solidFill>
            </a:rPr>
            <a:t>Signal</a:t>
          </a:r>
          <a:endParaRPr lang="en-US" dirty="0">
            <a:solidFill>
              <a:srgbClr val="FF0000"/>
            </a:solidFill>
          </a:endParaRPr>
        </a:p>
      </dgm:t>
    </dgm:pt>
    <dgm:pt modelId="{46D85903-DF24-4866-AC5B-7BFE4D06677E}" type="pres">
      <dgm:prSet presAssocID="{B7BD25F5-6302-4893-93F2-52FDF5B4EBA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4318B39-1C2B-48D4-8402-FB2CD165870C}" type="pres">
      <dgm:prSet presAssocID="{A76261EB-0171-495F-B01C-FEE19C336E95}" presName="hierRoot1" presStyleCnt="0">
        <dgm:presLayoutVars>
          <dgm:hierBranch val="init"/>
        </dgm:presLayoutVars>
      </dgm:prSet>
      <dgm:spPr/>
    </dgm:pt>
    <dgm:pt modelId="{2352F99D-4AE7-4087-81AE-A79E26AB0FFE}" type="pres">
      <dgm:prSet presAssocID="{A76261EB-0171-495F-B01C-FEE19C336E95}" presName="rootComposite1" presStyleCnt="0"/>
      <dgm:spPr/>
    </dgm:pt>
    <dgm:pt modelId="{179396DE-4BC8-4DD5-A4F4-A2E3DF862D89}" type="pres">
      <dgm:prSet presAssocID="{A76261EB-0171-495F-B01C-FEE19C336E95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612EBEE-C49E-4842-BE92-B4FB1F31EA49}" type="pres">
      <dgm:prSet presAssocID="{A76261EB-0171-495F-B01C-FEE19C336E95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3F94806-473D-4106-8B71-2E3D523486AB}" type="pres">
      <dgm:prSet presAssocID="{A76261EB-0171-495F-B01C-FEE19C336E95}" presName="rootConnector1" presStyleLbl="node1" presStyleIdx="0" presStyleCnt="4"/>
      <dgm:spPr/>
      <dgm:t>
        <a:bodyPr/>
        <a:lstStyle/>
        <a:p>
          <a:endParaRPr lang="en-US"/>
        </a:p>
      </dgm:t>
    </dgm:pt>
    <dgm:pt modelId="{FA007652-64FC-486C-B08C-DC129C7DBF3D}" type="pres">
      <dgm:prSet presAssocID="{A76261EB-0171-495F-B01C-FEE19C336E95}" presName="hierChild2" presStyleCnt="0"/>
      <dgm:spPr/>
    </dgm:pt>
    <dgm:pt modelId="{7C692710-FE1E-4FF9-B776-3DFCF17F65AF}" type="pres">
      <dgm:prSet presAssocID="{973511AB-96D9-4C25-A8CA-9FABB9C345F3}" presName="Name37" presStyleLbl="parChTrans1D2" presStyleIdx="0" presStyleCnt="3"/>
      <dgm:spPr/>
      <dgm:t>
        <a:bodyPr/>
        <a:lstStyle/>
        <a:p>
          <a:endParaRPr lang="en-US"/>
        </a:p>
      </dgm:t>
    </dgm:pt>
    <dgm:pt modelId="{68F6F831-6CFE-45B1-8847-2BB2F2127A7F}" type="pres">
      <dgm:prSet presAssocID="{57AFC9E6-92E5-41D3-B04B-D902096F72D6}" presName="hierRoot2" presStyleCnt="0">
        <dgm:presLayoutVars>
          <dgm:hierBranch val="init"/>
        </dgm:presLayoutVars>
      </dgm:prSet>
      <dgm:spPr/>
    </dgm:pt>
    <dgm:pt modelId="{840B1494-1B7F-4908-9D7B-CB9857763903}" type="pres">
      <dgm:prSet presAssocID="{57AFC9E6-92E5-41D3-B04B-D902096F72D6}" presName="rootComposite" presStyleCnt="0"/>
      <dgm:spPr/>
    </dgm:pt>
    <dgm:pt modelId="{4D0584A6-6242-460F-9334-D770546A688B}" type="pres">
      <dgm:prSet presAssocID="{57AFC9E6-92E5-41D3-B04B-D902096F72D6}" presName="rootText" presStyleLbl="node1" presStyleIdx="0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CFC074AB-9141-41C7-8E99-10BE29ADB71C}" type="pres">
      <dgm:prSet presAssocID="{57AFC9E6-92E5-41D3-B04B-D902096F72D6}" presName="titleText2" presStyleLbl="fgAcc1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471E5C9-CFB6-498D-AB38-EDC8847A1085}" type="pres">
      <dgm:prSet presAssocID="{57AFC9E6-92E5-41D3-B04B-D902096F72D6}" presName="rootConnector" presStyleLbl="node2" presStyleIdx="0" presStyleCnt="0"/>
      <dgm:spPr/>
      <dgm:t>
        <a:bodyPr/>
        <a:lstStyle/>
        <a:p>
          <a:endParaRPr lang="en-US"/>
        </a:p>
      </dgm:t>
    </dgm:pt>
    <dgm:pt modelId="{CB79278C-725B-4B86-8C93-FA8264B4BF82}" type="pres">
      <dgm:prSet presAssocID="{57AFC9E6-92E5-41D3-B04B-D902096F72D6}" presName="hierChild4" presStyleCnt="0"/>
      <dgm:spPr/>
    </dgm:pt>
    <dgm:pt modelId="{85C47B00-3E63-454F-9C63-E6D19C0B905B}" type="pres">
      <dgm:prSet presAssocID="{57AFC9E6-92E5-41D3-B04B-D902096F72D6}" presName="hierChild5" presStyleCnt="0"/>
      <dgm:spPr/>
    </dgm:pt>
    <dgm:pt modelId="{D0F3EE31-0384-4577-906E-76AC42F8BB25}" type="pres">
      <dgm:prSet presAssocID="{3F614571-7D7C-4849-B4E1-875DB3221B75}" presName="Name37" presStyleLbl="parChTrans1D2" presStyleIdx="1" presStyleCnt="3"/>
      <dgm:spPr/>
      <dgm:t>
        <a:bodyPr/>
        <a:lstStyle/>
        <a:p>
          <a:endParaRPr lang="en-US"/>
        </a:p>
      </dgm:t>
    </dgm:pt>
    <dgm:pt modelId="{7F8DFB63-4EA6-429B-A3A4-A323037BDAA9}" type="pres">
      <dgm:prSet presAssocID="{D3B76DD8-F1BC-4A4B-8236-5DBE51B68581}" presName="hierRoot2" presStyleCnt="0">
        <dgm:presLayoutVars>
          <dgm:hierBranch val="init"/>
        </dgm:presLayoutVars>
      </dgm:prSet>
      <dgm:spPr/>
    </dgm:pt>
    <dgm:pt modelId="{99B6017C-C7DF-4D5D-91DF-C7BEC39650B1}" type="pres">
      <dgm:prSet presAssocID="{D3B76DD8-F1BC-4A4B-8236-5DBE51B68581}" presName="rootComposite" presStyleCnt="0"/>
      <dgm:spPr/>
    </dgm:pt>
    <dgm:pt modelId="{2CC925CE-74FD-47A6-AC86-7AF2809D692E}" type="pres">
      <dgm:prSet presAssocID="{D3B76DD8-F1BC-4A4B-8236-5DBE51B68581}" presName="rootText" presStyleLbl="node1" presStyleIdx="1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28E1D97-6078-4449-BD97-CF417BDD7499}" type="pres">
      <dgm:prSet presAssocID="{D3B76DD8-F1BC-4A4B-8236-5DBE51B68581}" presName="titleText2" presStyleLbl="fgAcc1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E80F964-9279-46F7-90CA-7C11EA343971}" type="pres">
      <dgm:prSet presAssocID="{D3B76DD8-F1BC-4A4B-8236-5DBE51B68581}" presName="rootConnector" presStyleLbl="node2" presStyleIdx="0" presStyleCnt="0"/>
      <dgm:spPr/>
      <dgm:t>
        <a:bodyPr/>
        <a:lstStyle/>
        <a:p>
          <a:endParaRPr lang="en-US"/>
        </a:p>
      </dgm:t>
    </dgm:pt>
    <dgm:pt modelId="{F79BFDB8-5773-42C7-BAF1-BFC9888B56BC}" type="pres">
      <dgm:prSet presAssocID="{D3B76DD8-F1BC-4A4B-8236-5DBE51B68581}" presName="hierChild4" presStyleCnt="0"/>
      <dgm:spPr/>
    </dgm:pt>
    <dgm:pt modelId="{02C85107-6729-4243-A6AA-D448DF837BC9}" type="pres">
      <dgm:prSet presAssocID="{D3B76DD8-F1BC-4A4B-8236-5DBE51B68581}" presName="hierChild5" presStyleCnt="0"/>
      <dgm:spPr/>
    </dgm:pt>
    <dgm:pt modelId="{D44A256F-926E-4588-878F-5DF6D1157658}" type="pres">
      <dgm:prSet presAssocID="{93A7C478-B540-48D0-A1D9-3E1312CFDBB5}" presName="Name37" presStyleLbl="parChTrans1D2" presStyleIdx="2" presStyleCnt="3"/>
      <dgm:spPr/>
      <dgm:t>
        <a:bodyPr/>
        <a:lstStyle/>
        <a:p>
          <a:endParaRPr lang="en-US"/>
        </a:p>
      </dgm:t>
    </dgm:pt>
    <dgm:pt modelId="{1447D8A3-4BDD-4CA7-8DF3-57836AD60C1F}" type="pres">
      <dgm:prSet presAssocID="{EDD2EE89-3CD8-445A-A72F-F6CA67BF3858}" presName="hierRoot2" presStyleCnt="0">
        <dgm:presLayoutVars>
          <dgm:hierBranch val="init"/>
        </dgm:presLayoutVars>
      </dgm:prSet>
      <dgm:spPr/>
    </dgm:pt>
    <dgm:pt modelId="{F9D5B32A-1BD9-44B9-A251-4EF11D46D18F}" type="pres">
      <dgm:prSet presAssocID="{EDD2EE89-3CD8-445A-A72F-F6CA67BF3858}" presName="rootComposite" presStyleCnt="0"/>
      <dgm:spPr/>
    </dgm:pt>
    <dgm:pt modelId="{A9BBA439-6D3C-4C26-9DE5-AA7D6BE9DAA8}" type="pres">
      <dgm:prSet presAssocID="{EDD2EE89-3CD8-445A-A72F-F6CA67BF3858}" presName="rootText" presStyleLbl="node1" presStyleIdx="2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17F1EEE2-4AC0-4A71-A4BE-3BC1D4E2CD96}" type="pres">
      <dgm:prSet presAssocID="{EDD2EE89-3CD8-445A-A72F-F6CA67BF3858}" presName="titleText2" presStyleLbl="fgAcc1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171FA63-018E-4E3F-9BB2-63EA264965D7}" type="pres">
      <dgm:prSet presAssocID="{EDD2EE89-3CD8-445A-A72F-F6CA67BF3858}" presName="rootConnector" presStyleLbl="node2" presStyleIdx="0" presStyleCnt="0"/>
      <dgm:spPr/>
      <dgm:t>
        <a:bodyPr/>
        <a:lstStyle/>
        <a:p>
          <a:endParaRPr lang="en-US"/>
        </a:p>
      </dgm:t>
    </dgm:pt>
    <dgm:pt modelId="{7C4DEE95-4197-4D45-9E77-3CECF2B76DF2}" type="pres">
      <dgm:prSet presAssocID="{EDD2EE89-3CD8-445A-A72F-F6CA67BF3858}" presName="hierChild4" presStyleCnt="0"/>
      <dgm:spPr/>
    </dgm:pt>
    <dgm:pt modelId="{0F23258D-429F-4181-A521-66EC125FC48D}" type="pres">
      <dgm:prSet presAssocID="{A7F1A71E-CFD2-45AE-88CC-4E47CC5CCBD8}" presName="Name37" presStyleLbl="parChTrans1D3" presStyleIdx="0" presStyleCnt="1"/>
      <dgm:spPr/>
      <dgm:t>
        <a:bodyPr/>
        <a:lstStyle/>
        <a:p>
          <a:endParaRPr lang="en-US"/>
        </a:p>
      </dgm:t>
    </dgm:pt>
    <dgm:pt modelId="{6A589EDC-B8B0-4DE1-A394-51A7BC96404F}" type="pres">
      <dgm:prSet presAssocID="{DB05C373-2291-4AE5-ACC7-3A9BD52C6F3E}" presName="hierRoot2" presStyleCnt="0">
        <dgm:presLayoutVars>
          <dgm:hierBranch val="init"/>
        </dgm:presLayoutVars>
      </dgm:prSet>
      <dgm:spPr/>
    </dgm:pt>
    <dgm:pt modelId="{8F4AF3EF-8D5B-477A-AAEB-CF89E276FFCB}" type="pres">
      <dgm:prSet presAssocID="{DB05C373-2291-4AE5-ACC7-3A9BD52C6F3E}" presName="rootComposite" presStyleCnt="0"/>
      <dgm:spPr/>
    </dgm:pt>
    <dgm:pt modelId="{14E39A6B-97B6-45A8-A7A7-89F1E8B8EF2B}" type="pres">
      <dgm:prSet presAssocID="{DB05C373-2291-4AE5-ACC7-3A9BD52C6F3E}" presName="rootText" presStyleLbl="node1" presStyleIdx="3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0329A14B-D15E-4659-89D2-00B3E8FAFA67}" type="pres">
      <dgm:prSet presAssocID="{DB05C373-2291-4AE5-ACC7-3A9BD52C6F3E}" presName="titleText2" presStyleLbl="fgAcc1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A26452DB-C565-4D15-B7E5-A9C6FB7B8689}" type="pres">
      <dgm:prSet presAssocID="{DB05C373-2291-4AE5-ACC7-3A9BD52C6F3E}" presName="rootConnector" presStyleLbl="node3" presStyleIdx="0" presStyleCnt="0"/>
      <dgm:spPr/>
      <dgm:t>
        <a:bodyPr/>
        <a:lstStyle/>
        <a:p>
          <a:endParaRPr lang="en-US"/>
        </a:p>
      </dgm:t>
    </dgm:pt>
    <dgm:pt modelId="{C829A7A2-3C68-4674-8CD3-380B1F6DE5F2}" type="pres">
      <dgm:prSet presAssocID="{DB05C373-2291-4AE5-ACC7-3A9BD52C6F3E}" presName="hierChild4" presStyleCnt="0"/>
      <dgm:spPr/>
    </dgm:pt>
    <dgm:pt modelId="{0E08DED5-40A3-4A51-9A8D-A9CF11ED605D}" type="pres">
      <dgm:prSet presAssocID="{DB05C373-2291-4AE5-ACC7-3A9BD52C6F3E}" presName="hierChild5" presStyleCnt="0"/>
      <dgm:spPr/>
    </dgm:pt>
    <dgm:pt modelId="{831C1DB0-614A-4F35-9F48-47836E2754B0}" type="pres">
      <dgm:prSet presAssocID="{EDD2EE89-3CD8-445A-A72F-F6CA67BF3858}" presName="hierChild5" presStyleCnt="0"/>
      <dgm:spPr/>
    </dgm:pt>
    <dgm:pt modelId="{6634495F-3120-4B36-BE55-2FCDCDFFBDC1}" type="pres">
      <dgm:prSet presAssocID="{A76261EB-0171-495F-B01C-FEE19C336E95}" presName="hierChild3" presStyleCnt="0"/>
      <dgm:spPr/>
    </dgm:pt>
  </dgm:ptLst>
  <dgm:cxnLst>
    <dgm:cxn modelId="{7D73EAA5-EF61-4E5C-9240-6183AF2BE10A}" type="presOf" srcId="{57AFC9E6-92E5-41D3-B04B-D902096F72D6}" destId="{4471E5C9-CFB6-498D-AB38-EDC8847A1085}" srcOrd="1" destOrd="0" presId="urn:microsoft.com/office/officeart/2008/layout/NameandTitleOrganizationalChart"/>
    <dgm:cxn modelId="{3FDE194B-6607-4ABE-918C-FBDF61FB8382}" type="presOf" srcId="{D089DF42-35E3-4C2E-A495-3266A484CCF5}" destId="{9612EBEE-C49E-4842-BE92-B4FB1F31EA49}" srcOrd="0" destOrd="0" presId="urn:microsoft.com/office/officeart/2008/layout/NameandTitleOrganizationalChart"/>
    <dgm:cxn modelId="{5C2DDBF0-BF72-4A86-B981-74FA96FE2560}" type="presOf" srcId="{A76261EB-0171-495F-B01C-FEE19C336E95}" destId="{23F94806-473D-4106-8B71-2E3D523486AB}" srcOrd="1" destOrd="0" presId="urn:microsoft.com/office/officeart/2008/layout/NameandTitleOrganizationalChart"/>
    <dgm:cxn modelId="{E95E1A49-AFE1-4E8A-B503-02AE60D6EDCA}" type="presOf" srcId="{0CE9F323-7CAD-4ABA-A8F8-A40691E2D682}" destId="{0329A14B-D15E-4659-89D2-00B3E8FAFA67}" srcOrd="0" destOrd="0" presId="urn:microsoft.com/office/officeart/2008/layout/NameandTitleOrganizationalChart"/>
    <dgm:cxn modelId="{9B88ACB6-702F-4976-BABB-B9F92FFF61F7}" type="presOf" srcId="{973511AB-96D9-4C25-A8CA-9FABB9C345F3}" destId="{7C692710-FE1E-4FF9-B776-3DFCF17F65AF}" srcOrd="0" destOrd="0" presId="urn:microsoft.com/office/officeart/2008/layout/NameandTitleOrganizationalChart"/>
    <dgm:cxn modelId="{BA20251D-3EC3-4F1F-9CC2-2880C4642E3D}" srcId="{A76261EB-0171-495F-B01C-FEE19C336E95}" destId="{D3B76DD8-F1BC-4A4B-8236-5DBE51B68581}" srcOrd="1" destOrd="0" parTransId="{3F614571-7D7C-4849-B4E1-875DB3221B75}" sibTransId="{F41044CF-DCFF-4182-848F-D8E4EA298040}"/>
    <dgm:cxn modelId="{0309D2DC-8116-4D0D-9E9D-A79584DF1039}" type="presOf" srcId="{D3B76DD8-F1BC-4A4B-8236-5DBE51B68581}" destId="{2CC925CE-74FD-47A6-AC86-7AF2809D692E}" srcOrd="0" destOrd="0" presId="urn:microsoft.com/office/officeart/2008/layout/NameandTitleOrganizationalChart"/>
    <dgm:cxn modelId="{5AA50149-32F8-4569-9071-7E46EFD673B2}" type="presOf" srcId="{6CBE751C-5D9D-413A-A7B4-2F4AE3EEB9F9}" destId="{CFC074AB-9141-41C7-8E99-10BE29ADB71C}" srcOrd="0" destOrd="0" presId="urn:microsoft.com/office/officeart/2008/layout/NameandTitleOrganizationalChart"/>
    <dgm:cxn modelId="{E6717E0F-A89E-4D7A-8720-38595E383E76}" type="presOf" srcId="{EDD2EE89-3CD8-445A-A72F-F6CA67BF3858}" destId="{1171FA63-018E-4E3F-9BB2-63EA264965D7}" srcOrd="1" destOrd="0" presId="urn:microsoft.com/office/officeart/2008/layout/NameandTitleOrganizationalChart"/>
    <dgm:cxn modelId="{A1B48F69-3CFA-4E84-B528-E7EB1BE7929A}" type="presOf" srcId="{A76261EB-0171-495F-B01C-FEE19C336E95}" destId="{179396DE-4BC8-4DD5-A4F4-A2E3DF862D89}" srcOrd="0" destOrd="0" presId="urn:microsoft.com/office/officeart/2008/layout/NameandTitleOrganizationalChart"/>
    <dgm:cxn modelId="{DD043374-CFD6-4B8C-A58A-FB57415FF7DA}" type="presOf" srcId="{F41044CF-DCFF-4182-848F-D8E4EA298040}" destId="{928E1D97-6078-4449-BD97-CF417BDD7499}" srcOrd="0" destOrd="0" presId="urn:microsoft.com/office/officeart/2008/layout/NameandTitleOrganizationalChart"/>
    <dgm:cxn modelId="{3AB7942C-C859-4FDF-840C-3B2A7EAA270D}" type="presOf" srcId="{DB05C373-2291-4AE5-ACC7-3A9BD52C6F3E}" destId="{A26452DB-C565-4D15-B7E5-A9C6FB7B8689}" srcOrd="1" destOrd="0" presId="urn:microsoft.com/office/officeart/2008/layout/NameandTitleOrganizationalChart"/>
    <dgm:cxn modelId="{BA1DCEF8-8F62-4121-866C-CCC2FE09D667}" type="presOf" srcId="{A7F1A71E-CFD2-45AE-88CC-4E47CC5CCBD8}" destId="{0F23258D-429F-4181-A521-66EC125FC48D}" srcOrd="0" destOrd="0" presId="urn:microsoft.com/office/officeart/2008/layout/NameandTitleOrganizationalChart"/>
    <dgm:cxn modelId="{A9257D10-1DBF-40E4-9996-1C0F3890F03E}" srcId="{EDD2EE89-3CD8-445A-A72F-F6CA67BF3858}" destId="{DB05C373-2291-4AE5-ACC7-3A9BD52C6F3E}" srcOrd="0" destOrd="0" parTransId="{A7F1A71E-CFD2-45AE-88CC-4E47CC5CCBD8}" sibTransId="{0CE9F323-7CAD-4ABA-A8F8-A40691E2D682}"/>
    <dgm:cxn modelId="{F9AE9452-CD8E-49BE-9789-07D717DAAFE2}" type="presOf" srcId="{93A7C478-B540-48D0-A1D9-3E1312CFDBB5}" destId="{D44A256F-926E-4588-878F-5DF6D1157658}" srcOrd="0" destOrd="0" presId="urn:microsoft.com/office/officeart/2008/layout/NameandTitleOrganizationalChart"/>
    <dgm:cxn modelId="{D6D3F879-C684-4215-81FA-6310369F477D}" type="presOf" srcId="{57AFC9E6-92E5-41D3-B04B-D902096F72D6}" destId="{4D0584A6-6242-460F-9334-D770546A688B}" srcOrd="0" destOrd="0" presId="urn:microsoft.com/office/officeart/2008/layout/NameandTitleOrganizationalChart"/>
    <dgm:cxn modelId="{32622513-3885-4D5C-AD16-92616193BA49}" type="presOf" srcId="{EDD2EE89-3CD8-445A-A72F-F6CA67BF3858}" destId="{A9BBA439-6D3C-4C26-9DE5-AA7D6BE9DAA8}" srcOrd="0" destOrd="0" presId="urn:microsoft.com/office/officeart/2008/layout/NameandTitleOrganizationalChart"/>
    <dgm:cxn modelId="{F2D06975-6861-40FF-A46B-5816EC5C5CE3}" srcId="{A76261EB-0171-495F-B01C-FEE19C336E95}" destId="{EDD2EE89-3CD8-445A-A72F-F6CA67BF3858}" srcOrd="2" destOrd="0" parTransId="{93A7C478-B540-48D0-A1D9-3E1312CFDBB5}" sibTransId="{85AB6A1D-114C-47AA-90B9-E5ED5E9FD1B3}"/>
    <dgm:cxn modelId="{E789C7C1-7095-4E97-B450-FA8FED4C0146}" srcId="{B7BD25F5-6302-4893-93F2-52FDF5B4EBAD}" destId="{A76261EB-0171-495F-B01C-FEE19C336E95}" srcOrd="0" destOrd="0" parTransId="{251F7718-5450-4C52-A6D6-15B812BA51FC}" sibTransId="{D089DF42-35E3-4C2E-A495-3266A484CCF5}"/>
    <dgm:cxn modelId="{E8005D86-01FA-4989-AC15-8D9092A2A4BA}" type="presOf" srcId="{3F614571-7D7C-4849-B4E1-875DB3221B75}" destId="{D0F3EE31-0384-4577-906E-76AC42F8BB25}" srcOrd="0" destOrd="0" presId="urn:microsoft.com/office/officeart/2008/layout/NameandTitleOrganizationalChart"/>
    <dgm:cxn modelId="{468E28A6-1C0D-4122-879A-5DF86A77CB23}" type="presOf" srcId="{85AB6A1D-114C-47AA-90B9-E5ED5E9FD1B3}" destId="{17F1EEE2-4AC0-4A71-A4BE-3BC1D4E2CD96}" srcOrd="0" destOrd="0" presId="urn:microsoft.com/office/officeart/2008/layout/NameandTitleOrganizationalChart"/>
    <dgm:cxn modelId="{BD9B6E0E-90E7-4CCC-9629-EBB2A1F83E2D}" type="presOf" srcId="{D3B76DD8-F1BC-4A4B-8236-5DBE51B68581}" destId="{BE80F964-9279-46F7-90CA-7C11EA343971}" srcOrd="1" destOrd="0" presId="urn:microsoft.com/office/officeart/2008/layout/NameandTitleOrganizationalChart"/>
    <dgm:cxn modelId="{0E4CD12A-4229-4C16-A3EF-ACB38AD8386A}" type="presOf" srcId="{B7BD25F5-6302-4893-93F2-52FDF5B4EBAD}" destId="{46D85903-DF24-4866-AC5B-7BFE4D06677E}" srcOrd="0" destOrd="0" presId="urn:microsoft.com/office/officeart/2008/layout/NameandTitleOrganizationalChart"/>
    <dgm:cxn modelId="{BF59C5C5-DCF6-43A0-AE6B-529A3D274FA3}" type="presOf" srcId="{DB05C373-2291-4AE5-ACC7-3A9BD52C6F3E}" destId="{14E39A6B-97B6-45A8-A7A7-89F1E8B8EF2B}" srcOrd="0" destOrd="0" presId="urn:microsoft.com/office/officeart/2008/layout/NameandTitleOrganizationalChart"/>
    <dgm:cxn modelId="{C145884A-C1CE-4E06-B0A9-2672C01114BB}" srcId="{A76261EB-0171-495F-B01C-FEE19C336E95}" destId="{57AFC9E6-92E5-41D3-B04B-D902096F72D6}" srcOrd="0" destOrd="0" parTransId="{973511AB-96D9-4C25-A8CA-9FABB9C345F3}" sibTransId="{6CBE751C-5D9D-413A-A7B4-2F4AE3EEB9F9}"/>
    <dgm:cxn modelId="{B3595D34-560E-4C93-9A51-277EF36E163D}" type="presParOf" srcId="{46D85903-DF24-4866-AC5B-7BFE4D06677E}" destId="{24318B39-1C2B-48D4-8402-FB2CD165870C}" srcOrd="0" destOrd="0" presId="urn:microsoft.com/office/officeart/2008/layout/NameandTitleOrganizationalChart"/>
    <dgm:cxn modelId="{5FEC4555-6081-4B71-89D2-C80D702F002E}" type="presParOf" srcId="{24318B39-1C2B-48D4-8402-FB2CD165870C}" destId="{2352F99D-4AE7-4087-81AE-A79E26AB0FFE}" srcOrd="0" destOrd="0" presId="urn:microsoft.com/office/officeart/2008/layout/NameandTitleOrganizationalChart"/>
    <dgm:cxn modelId="{D43D4E55-CA43-419D-9CFE-D08AE0A2D9A8}" type="presParOf" srcId="{2352F99D-4AE7-4087-81AE-A79E26AB0FFE}" destId="{179396DE-4BC8-4DD5-A4F4-A2E3DF862D89}" srcOrd="0" destOrd="0" presId="urn:microsoft.com/office/officeart/2008/layout/NameandTitleOrganizationalChart"/>
    <dgm:cxn modelId="{E6EBAFD9-7A91-4E59-8E9F-48F16745F01C}" type="presParOf" srcId="{2352F99D-4AE7-4087-81AE-A79E26AB0FFE}" destId="{9612EBEE-C49E-4842-BE92-B4FB1F31EA49}" srcOrd="1" destOrd="0" presId="urn:microsoft.com/office/officeart/2008/layout/NameandTitleOrganizationalChart"/>
    <dgm:cxn modelId="{C6A807EA-6D35-40B7-877D-00A1D629573E}" type="presParOf" srcId="{2352F99D-4AE7-4087-81AE-A79E26AB0FFE}" destId="{23F94806-473D-4106-8B71-2E3D523486AB}" srcOrd="2" destOrd="0" presId="urn:microsoft.com/office/officeart/2008/layout/NameandTitleOrganizationalChart"/>
    <dgm:cxn modelId="{40E1DD10-7F26-48F9-8950-C085A729126E}" type="presParOf" srcId="{24318B39-1C2B-48D4-8402-FB2CD165870C}" destId="{FA007652-64FC-486C-B08C-DC129C7DBF3D}" srcOrd="1" destOrd="0" presId="urn:microsoft.com/office/officeart/2008/layout/NameandTitleOrganizationalChart"/>
    <dgm:cxn modelId="{C0EE41A8-D4B1-4E66-8B55-897D2BFBA425}" type="presParOf" srcId="{FA007652-64FC-486C-B08C-DC129C7DBF3D}" destId="{7C692710-FE1E-4FF9-B776-3DFCF17F65AF}" srcOrd="0" destOrd="0" presId="urn:microsoft.com/office/officeart/2008/layout/NameandTitleOrganizationalChart"/>
    <dgm:cxn modelId="{3E12BEC2-3825-45BD-8DBF-B91937BFF68A}" type="presParOf" srcId="{FA007652-64FC-486C-B08C-DC129C7DBF3D}" destId="{68F6F831-6CFE-45B1-8847-2BB2F2127A7F}" srcOrd="1" destOrd="0" presId="urn:microsoft.com/office/officeart/2008/layout/NameandTitleOrganizationalChart"/>
    <dgm:cxn modelId="{E3653073-DED0-4D3A-928C-285EC63A027D}" type="presParOf" srcId="{68F6F831-6CFE-45B1-8847-2BB2F2127A7F}" destId="{840B1494-1B7F-4908-9D7B-CB9857763903}" srcOrd="0" destOrd="0" presId="urn:microsoft.com/office/officeart/2008/layout/NameandTitleOrganizationalChart"/>
    <dgm:cxn modelId="{99944395-77C2-4525-AC1D-14C7E15FBA51}" type="presParOf" srcId="{840B1494-1B7F-4908-9D7B-CB9857763903}" destId="{4D0584A6-6242-460F-9334-D770546A688B}" srcOrd="0" destOrd="0" presId="urn:microsoft.com/office/officeart/2008/layout/NameandTitleOrganizationalChart"/>
    <dgm:cxn modelId="{A8969A80-1349-4487-82C0-8B4506EC0930}" type="presParOf" srcId="{840B1494-1B7F-4908-9D7B-CB9857763903}" destId="{CFC074AB-9141-41C7-8E99-10BE29ADB71C}" srcOrd="1" destOrd="0" presId="urn:microsoft.com/office/officeart/2008/layout/NameandTitleOrganizationalChart"/>
    <dgm:cxn modelId="{72250714-26E3-4431-828B-FEAA8B68974D}" type="presParOf" srcId="{840B1494-1B7F-4908-9D7B-CB9857763903}" destId="{4471E5C9-CFB6-498D-AB38-EDC8847A1085}" srcOrd="2" destOrd="0" presId="urn:microsoft.com/office/officeart/2008/layout/NameandTitleOrganizationalChart"/>
    <dgm:cxn modelId="{B9595CF1-D038-4C57-8E73-6691DDE4D2A7}" type="presParOf" srcId="{68F6F831-6CFE-45B1-8847-2BB2F2127A7F}" destId="{CB79278C-725B-4B86-8C93-FA8264B4BF82}" srcOrd="1" destOrd="0" presId="urn:microsoft.com/office/officeart/2008/layout/NameandTitleOrganizationalChart"/>
    <dgm:cxn modelId="{65986ED9-D867-45C3-9B00-A90B1EB2E33D}" type="presParOf" srcId="{68F6F831-6CFE-45B1-8847-2BB2F2127A7F}" destId="{85C47B00-3E63-454F-9C63-E6D19C0B905B}" srcOrd="2" destOrd="0" presId="urn:microsoft.com/office/officeart/2008/layout/NameandTitleOrganizationalChart"/>
    <dgm:cxn modelId="{657E6BC5-A904-4676-AC52-554410DCBE5B}" type="presParOf" srcId="{FA007652-64FC-486C-B08C-DC129C7DBF3D}" destId="{D0F3EE31-0384-4577-906E-76AC42F8BB25}" srcOrd="2" destOrd="0" presId="urn:microsoft.com/office/officeart/2008/layout/NameandTitleOrganizationalChart"/>
    <dgm:cxn modelId="{8AD18C21-3097-47B9-8343-4522306ABCD3}" type="presParOf" srcId="{FA007652-64FC-486C-B08C-DC129C7DBF3D}" destId="{7F8DFB63-4EA6-429B-A3A4-A323037BDAA9}" srcOrd="3" destOrd="0" presId="urn:microsoft.com/office/officeart/2008/layout/NameandTitleOrganizationalChart"/>
    <dgm:cxn modelId="{87B387C5-F294-4DFD-A33B-719242B7E6A7}" type="presParOf" srcId="{7F8DFB63-4EA6-429B-A3A4-A323037BDAA9}" destId="{99B6017C-C7DF-4D5D-91DF-C7BEC39650B1}" srcOrd="0" destOrd="0" presId="urn:microsoft.com/office/officeart/2008/layout/NameandTitleOrganizationalChart"/>
    <dgm:cxn modelId="{0514C7B9-586A-47C8-9216-B1649890F87D}" type="presParOf" srcId="{99B6017C-C7DF-4D5D-91DF-C7BEC39650B1}" destId="{2CC925CE-74FD-47A6-AC86-7AF2809D692E}" srcOrd="0" destOrd="0" presId="urn:microsoft.com/office/officeart/2008/layout/NameandTitleOrganizationalChart"/>
    <dgm:cxn modelId="{3B45E352-1E67-44D8-B319-EC0222E2A7C2}" type="presParOf" srcId="{99B6017C-C7DF-4D5D-91DF-C7BEC39650B1}" destId="{928E1D97-6078-4449-BD97-CF417BDD7499}" srcOrd="1" destOrd="0" presId="urn:microsoft.com/office/officeart/2008/layout/NameandTitleOrganizationalChart"/>
    <dgm:cxn modelId="{504E5D46-9DA8-4077-A499-A1912A739629}" type="presParOf" srcId="{99B6017C-C7DF-4D5D-91DF-C7BEC39650B1}" destId="{BE80F964-9279-46F7-90CA-7C11EA343971}" srcOrd="2" destOrd="0" presId="urn:microsoft.com/office/officeart/2008/layout/NameandTitleOrganizationalChart"/>
    <dgm:cxn modelId="{1D6A554F-A6E0-4A1C-858F-DE8DA004B3C7}" type="presParOf" srcId="{7F8DFB63-4EA6-429B-A3A4-A323037BDAA9}" destId="{F79BFDB8-5773-42C7-BAF1-BFC9888B56BC}" srcOrd="1" destOrd="0" presId="urn:microsoft.com/office/officeart/2008/layout/NameandTitleOrganizationalChart"/>
    <dgm:cxn modelId="{64C123B7-C7C0-4714-9DE6-A840F5588DF8}" type="presParOf" srcId="{7F8DFB63-4EA6-429B-A3A4-A323037BDAA9}" destId="{02C85107-6729-4243-A6AA-D448DF837BC9}" srcOrd="2" destOrd="0" presId="urn:microsoft.com/office/officeart/2008/layout/NameandTitleOrganizationalChart"/>
    <dgm:cxn modelId="{66C7294C-36F2-4367-B1AB-EDA681C100B1}" type="presParOf" srcId="{FA007652-64FC-486C-B08C-DC129C7DBF3D}" destId="{D44A256F-926E-4588-878F-5DF6D1157658}" srcOrd="4" destOrd="0" presId="urn:microsoft.com/office/officeart/2008/layout/NameandTitleOrganizationalChart"/>
    <dgm:cxn modelId="{D2F9E1D2-D393-4280-B83B-2CFD73B2B990}" type="presParOf" srcId="{FA007652-64FC-486C-B08C-DC129C7DBF3D}" destId="{1447D8A3-4BDD-4CA7-8DF3-57836AD60C1F}" srcOrd="5" destOrd="0" presId="urn:microsoft.com/office/officeart/2008/layout/NameandTitleOrganizationalChart"/>
    <dgm:cxn modelId="{BD231213-AC84-4190-9DF0-E6B9B8FFB9E0}" type="presParOf" srcId="{1447D8A3-4BDD-4CA7-8DF3-57836AD60C1F}" destId="{F9D5B32A-1BD9-44B9-A251-4EF11D46D18F}" srcOrd="0" destOrd="0" presId="urn:microsoft.com/office/officeart/2008/layout/NameandTitleOrganizationalChart"/>
    <dgm:cxn modelId="{054389EA-AE91-44F5-AECD-2E944096FA45}" type="presParOf" srcId="{F9D5B32A-1BD9-44B9-A251-4EF11D46D18F}" destId="{A9BBA439-6D3C-4C26-9DE5-AA7D6BE9DAA8}" srcOrd="0" destOrd="0" presId="urn:microsoft.com/office/officeart/2008/layout/NameandTitleOrganizationalChart"/>
    <dgm:cxn modelId="{F3976BA5-7AAB-4DFD-B82A-A5C52508E8CE}" type="presParOf" srcId="{F9D5B32A-1BD9-44B9-A251-4EF11D46D18F}" destId="{17F1EEE2-4AC0-4A71-A4BE-3BC1D4E2CD96}" srcOrd="1" destOrd="0" presId="urn:microsoft.com/office/officeart/2008/layout/NameandTitleOrganizationalChart"/>
    <dgm:cxn modelId="{21DA9218-8748-49F2-8D80-3503C888F92B}" type="presParOf" srcId="{F9D5B32A-1BD9-44B9-A251-4EF11D46D18F}" destId="{1171FA63-018E-4E3F-9BB2-63EA264965D7}" srcOrd="2" destOrd="0" presId="urn:microsoft.com/office/officeart/2008/layout/NameandTitleOrganizationalChart"/>
    <dgm:cxn modelId="{116297A3-6590-49EA-B809-4A10716A78B1}" type="presParOf" srcId="{1447D8A3-4BDD-4CA7-8DF3-57836AD60C1F}" destId="{7C4DEE95-4197-4D45-9E77-3CECF2B76DF2}" srcOrd="1" destOrd="0" presId="urn:microsoft.com/office/officeart/2008/layout/NameandTitleOrganizationalChart"/>
    <dgm:cxn modelId="{8639FA29-4B48-4ED8-A3EC-44D3B6BC2BAD}" type="presParOf" srcId="{7C4DEE95-4197-4D45-9E77-3CECF2B76DF2}" destId="{0F23258D-429F-4181-A521-66EC125FC48D}" srcOrd="0" destOrd="0" presId="urn:microsoft.com/office/officeart/2008/layout/NameandTitleOrganizationalChart"/>
    <dgm:cxn modelId="{9743D8E0-BFF2-4BEA-91E7-92C52138231A}" type="presParOf" srcId="{7C4DEE95-4197-4D45-9E77-3CECF2B76DF2}" destId="{6A589EDC-B8B0-4DE1-A394-51A7BC96404F}" srcOrd="1" destOrd="0" presId="urn:microsoft.com/office/officeart/2008/layout/NameandTitleOrganizationalChart"/>
    <dgm:cxn modelId="{0CE24289-DF12-4170-9C2D-64BBC80A22C6}" type="presParOf" srcId="{6A589EDC-B8B0-4DE1-A394-51A7BC96404F}" destId="{8F4AF3EF-8D5B-477A-AAEB-CF89E276FFCB}" srcOrd="0" destOrd="0" presId="urn:microsoft.com/office/officeart/2008/layout/NameandTitleOrganizationalChart"/>
    <dgm:cxn modelId="{DD129C4E-5D64-4ED6-B5BE-B941B2ABE5F4}" type="presParOf" srcId="{8F4AF3EF-8D5B-477A-AAEB-CF89E276FFCB}" destId="{14E39A6B-97B6-45A8-A7A7-89F1E8B8EF2B}" srcOrd="0" destOrd="0" presId="urn:microsoft.com/office/officeart/2008/layout/NameandTitleOrganizationalChart"/>
    <dgm:cxn modelId="{B0A6489B-8359-4D1F-9A30-0F6CB229FC0C}" type="presParOf" srcId="{8F4AF3EF-8D5B-477A-AAEB-CF89E276FFCB}" destId="{0329A14B-D15E-4659-89D2-00B3E8FAFA67}" srcOrd="1" destOrd="0" presId="urn:microsoft.com/office/officeart/2008/layout/NameandTitleOrganizationalChart"/>
    <dgm:cxn modelId="{43487050-B90B-49C3-8AAA-3A31B89BF4F6}" type="presParOf" srcId="{8F4AF3EF-8D5B-477A-AAEB-CF89E276FFCB}" destId="{A26452DB-C565-4D15-B7E5-A9C6FB7B8689}" srcOrd="2" destOrd="0" presId="urn:microsoft.com/office/officeart/2008/layout/NameandTitleOrganizationalChart"/>
    <dgm:cxn modelId="{94230BA2-D749-47C3-893B-1DE74161E58C}" type="presParOf" srcId="{6A589EDC-B8B0-4DE1-A394-51A7BC96404F}" destId="{C829A7A2-3C68-4674-8CD3-380B1F6DE5F2}" srcOrd="1" destOrd="0" presId="urn:microsoft.com/office/officeart/2008/layout/NameandTitleOrganizationalChart"/>
    <dgm:cxn modelId="{DE4DDDD5-47A0-4C89-A069-B372C01E083D}" type="presParOf" srcId="{6A589EDC-B8B0-4DE1-A394-51A7BC96404F}" destId="{0E08DED5-40A3-4A51-9A8D-A9CF11ED605D}" srcOrd="2" destOrd="0" presId="urn:microsoft.com/office/officeart/2008/layout/NameandTitleOrganizationalChart"/>
    <dgm:cxn modelId="{095106E4-8C05-42F2-BD27-783414DD5A10}" type="presParOf" srcId="{1447D8A3-4BDD-4CA7-8DF3-57836AD60C1F}" destId="{831C1DB0-614A-4F35-9F48-47836E2754B0}" srcOrd="2" destOrd="0" presId="urn:microsoft.com/office/officeart/2008/layout/NameandTitleOrganizationalChart"/>
    <dgm:cxn modelId="{03684CAF-6413-4D51-8534-968B201D0C9A}" type="presParOf" srcId="{24318B39-1C2B-48D4-8402-FB2CD165870C}" destId="{6634495F-3120-4B36-BE55-2FCDCDFFBDC1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7BD25F5-6302-4893-93F2-52FDF5B4EBAD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6261EB-0171-495F-B01C-FEE19C336E95}">
      <dgm:prSet phldrT="[Text]"/>
      <dgm:spPr/>
      <dgm:t>
        <a:bodyPr/>
        <a:lstStyle/>
        <a:p>
          <a:r>
            <a:rPr lang="en-US" dirty="0" smtClean="0"/>
            <a:t>Private</a:t>
          </a:r>
          <a:endParaRPr lang="en-US" dirty="0"/>
        </a:p>
      </dgm:t>
    </dgm:pt>
    <dgm:pt modelId="{251F7718-5450-4C52-A6D6-15B812BA51FC}" type="parTrans" cxnId="{E789C7C1-7095-4E97-B450-FA8FED4C0146}">
      <dgm:prSet/>
      <dgm:spPr/>
      <dgm:t>
        <a:bodyPr/>
        <a:lstStyle/>
        <a:p>
          <a:endParaRPr lang="en-US"/>
        </a:p>
      </dgm:t>
    </dgm:pt>
    <dgm:pt modelId="{D089DF42-35E3-4C2E-A495-3266A484CCF5}" type="sibTrans" cxnId="{E789C7C1-7095-4E97-B450-FA8FED4C0146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0E055442-FE41-47C5-9D95-C8E3417880AB}">
      <dgm:prSet phldrT="[Text]"/>
      <dgm:spPr/>
      <dgm:t>
        <a:bodyPr/>
        <a:lstStyle/>
        <a:p>
          <a:r>
            <a:rPr lang="en-US" dirty="0" smtClean="0"/>
            <a:t>BMW</a:t>
          </a:r>
          <a:endParaRPr lang="en-US" dirty="0"/>
        </a:p>
      </dgm:t>
    </dgm:pt>
    <dgm:pt modelId="{3E75E917-A50C-420A-AA35-059FF8459A10}" type="parTrans" cxnId="{E4575097-B293-407B-983A-5215BE9C6B9D}">
      <dgm:prSet/>
      <dgm:spPr/>
      <dgm:t>
        <a:bodyPr/>
        <a:lstStyle/>
        <a:p>
          <a:endParaRPr lang="en-US"/>
        </a:p>
      </dgm:t>
    </dgm:pt>
    <dgm:pt modelId="{B8FD46C9-DCB8-468F-A3E0-F1B732362C04}" type="sibTrans" cxnId="{E4575097-B293-407B-983A-5215BE9C6B9D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57AFC9E6-92E5-41D3-B04B-D902096F72D6}">
      <dgm:prSet phldrT="[Text]"/>
      <dgm:spPr/>
      <dgm:t>
        <a:bodyPr/>
        <a:lstStyle/>
        <a:p>
          <a:r>
            <a:rPr lang="en-US" dirty="0" smtClean="0"/>
            <a:t>HMI</a:t>
          </a:r>
          <a:endParaRPr lang="en-US" dirty="0"/>
        </a:p>
      </dgm:t>
    </dgm:pt>
    <dgm:pt modelId="{973511AB-96D9-4C25-A8CA-9FABB9C345F3}" type="parTrans" cxnId="{C145884A-C1CE-4E06-B0A9-2672C01114BB}">
      <dgm:prSet/>
      <dgm:spPr/>
      <dgm:t>
        <a:bodyPr/>
        <a:lstStyle/>
        <a:p>
          <a:endParaRPr lang="en-US"/>
        </a:p>
      </dgm:t>
    </dgm:pt>
    <dgm:pt modelId="{6CBE751C-5D9D-413A-A7B4-2F4AE3EEB9F9}" type="sibTrans" cxnId="{C145884A-C1CE-4E06-B0A9-2672C01114BB}">
      <dgm:prSet/>
      <dgm:spPr/>
      <dgm:t>
        <a:bodyPr/>
        <a:lstStyle/>
        <a:p>
          <a:r>
            <a:rPr lang="en-US" dirty="0" smtClean="0"/>
            <a:t>Branch</a:t>
          </a:r>
          <a:endParaRPr lang="en-US" dirty="0"/>
        </a:p>
      </dgm:t>
    </dgm:pt>
    <dgm:pt modelId="{DB621FDC-5909-4344-8D9D-BE3C2AE0E3D7}">
      <dgm:prSet phldrT="[Text]"/>
      <dgm:spPr/>
      <dgm:t>
        <a:bodyPr/>
        <a:lstStyle/>
        <a:p>
          <a:r>
            <a:rPr lang="en-US" dirty="0" err="1" smtClean="0"/>
            <a:t>PrivateSignal</a:t>
          </a:r>
          <a:endParaRPr lang="en-US" dirty="0"/>
        </a:p>
      </dgm:t>
    </dgm:pt>
    <dgm:pt modelId="{2E0151E9-33E1-4754-92FF-57EC2475B379}" type="parTrans" cxnId="{11BA13EA-DC5B-4988-ABE5-793F403CED4B}">
      <dgm:prSet/>
      <dgm:spPr/>
      <dgm:t>
        <a:bodyPr/>
        <a:lstStyle/>
        <a:p>
          <a:endParaRPr lang="en-US"/>
        </a:p>
      </dgm:t>
    </dgm:pt>
    <dgm:pt modelId="{06BB1840-35BC-4874-A1E6-A73503937198}" type="sibTrans" cxnId="{11BA13EA-DC5B-4988-ABE5-793F403CED4B}">
      <dgm:prSet/>
      <dgm:spPr/>
      <dgm:t>
        <a:bodyPr/>
        <a:lstStyle/>
        <a:p>
          <a:r>
            <a:rPr lang="en-US" dirty="0" smtClean="0">
              <a:solidFill>
                <a:srgbClr val="FF0000"/>
              </a:solidFill>
            </a:rPr>
            <a:t>??</a:t>
          </a:r>
          <a:endParaRPr lang="en-US" dirty="0">
            <a:solidFill>
              <a:srgbClr val="FF0000"/>
            </a:solidFill>
          </a:endParaRPr>
        </a:p>
      </dgm:t>
    </dgm:pt>
    <dgm:pt modelId="{46D85903-DF24-4866-AC5B-7BFE4D06677E}" type="pres">
      <dgm:prSet presAssocID="{B7BD25F5-6302-4893-93F2-52FDF5B4EBA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4318B39-1C2B-48D4-8402-FB2CD165870C}" type="pres">
      <dgm:prSet presAssocID="{A76261EB-0171-495F-B01C-FEE19C336E95}" presName="hierRoot1" presStyleCnt="0">
        <dgm:presLayoutVars>
          <dgm:hierBranch val="init"/>
        </dgm:presLayoutVars>
      </dgm:prSet>
      <dgm:spPr/>
    </dgm:pt>
    <dgm:pt modelId="{2352F99D-4AE7-4087-81AE-A79E26AB0FFE}" type="pres">
      <dgm:prSet presAssocID="{A76261EB-0171-495F-B01C-FEE19C336E95}" presName="rootComposite1" presStyleCnt="0"/>
      <dgm:spPr/>
    </dgm:pt>
    <dgm:pt modelId="{179396DE-4BC8-4DD5-A4F4-A2E3DF862D89}" type="pres">
      <dgm:prSet presAssocID="{A76261EB-0171-495F-B01C-FEE19C336E95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612EBEE-C49E-4842-BE92-B4FB1F31EA49}" type="pres">
      <dgm:prSet presAssocID="{A76261EB-0171-495F-B01C-FEE19C336E95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23F94806-473D-4106-8B71-2E3D523486AB}" type="pres">
      <dgm:prSet presAssocID="{A76261EB-0171-495F-B01C-FEE19C336E95}" presName="rootConnector1" presStyleLbl="node1" presStyleIdx="0" presStyleCnt="3"/>
      <dgm:spPr/>
      <dgm:t>
        <a:bodyPr/>
        <a:lstStyle/>
        <a:p>
          <a:endParaRPr lang="en-US"/>
        </a:p>
      </dgm:t>
    </dgm:pt>
    <dgm:pt modelId="{FA007652-64FC-486C-B08C-DC129C7DBF3D}" type="pres">
      <dgm:prSet presAssocID="{A76261EB-0171-495F-B01C-FEE19C336E95}" presName="hierChild2" presStyleCnt="0"/>
      <dgm:spPr/>
    </dgm:pt>
    <dgm:pt modelId="{52FE3C7C-536D-4A02-883C-915D928CB6F9}" type="pres">
      <dgm:prSet presAssocID="{3E75E917-A50C-420A-AA35-059FF8459A10}" presName="Name37" presStyleLbl="parChTrans1D2" presStyleIdx="0" presStyleCnt="2"/>
      <dgm:spPr/>
      <dgm:t>
        <a:bodyPr/>
        <a:lstStyle/>
        <a:p>
          <a:endParaRPr lang="en-US"/>
        </a:p>
      </dgm:t>
    </dgm:pt>
    <dgm:pt modelId="{9CBF65CB-3F42-4CF3-8951-F9CAF298345F}" type="pres">
      <dgm:prSet presAssocID="{0E055442-FE41-47C5-9D95-C8E3417880AB}" presName="hierRoot2" presStyleCnt="0">
        <dgm:presLayoutVars>
          <dgm:hierBranch val="init"/>
        </dgm:presLayoutVars>
      </dgm:prSet>
      <dgm:spPr/>
    </dgm:pt>
    <dgm:pt modelId="{2C3249AD-5D85-43B3-94E2-700049A240E4}" type="pres">
      <dgm:prSet presAssocID="{0E055442-FE41-47C5-9D95-C8E3417880AB}" presName="rootComposite" presStyleCnt="0"/>
      <dgm:spPr/>
    </dgm:pt>
    <dgm:pt modelId="{1AD1E644-3FD8-417E-82B8-0BAF464C1A1A}" type="pres">
      <dgm:prSet presAssocID="{0E055442-FE41-47C5-9D95-C8E3417880AB}" presName="rootText" presStyleLbl="node1" presStyleIdx="0" presStyleCnt="3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82EB87DA-1A26-4090-AD1E-2DE64651FD06}" type="pres">
      <dgm:prSet presAssocID="{0E055442-FE41-47C5-9D95-C8E3417880AB}" presName="titleText2" presStyleLbl="fgAcc1" presStyleIdx="0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833B6F7C-F20C-4ACD-9703-742AA914FD73}" type="pres">
      <dgm:prSet presAssocID="{0E055442-FE41-47C5-9D95-C8E3417880AB}" presName="rootConnector" presStyleLbl="node2" presStyleIdx="0" presStyleCnt="0"/>
      <dgm:spPr/>
      <dgm:t>
        <a:bodyPr/>
        <a:lstStyle/>
        <a:p>
          <a:endParaRPr lang="en-US"/>
        </a:p>
      </dgm:t>
    </dgm:pt>
    <dgm:pt modelId="{CBA015C2-8084-417F-95B4-01483A02857D}" type="pres">
      <dgm:prSet presAssocID="{0E055442-FE41-47C5-9D95-C8E3417880AB}" presName="hierChild4" presStyleCnt="0"/>
      <dgm:spPr/>
    </dgm:pt>
    <dgm:pt modelId="{B83DFCE0-7047-4341-BFDF-EFE14743AC60}" type="pres">
      <dgm:prSet presAssocID="{2E0151E9-33E1-4754-92FF-57EC2475B379}" presName="Name37" presStyleLbl="parChTrans1D3" presStyleIdx="0" presStyleCnt="1"/>
      <dgm:spPr/>
      <dgm:t>
        <a:bodyPr/>
        <a:lstStyle/>
        <a:p>
          <a:endParaRPr lang="en-US"/>
        </a:p>
      </dgm:t>
    </dgm:pt>
    <dgm:pt modelId="{2CB3BF85-F988-47DC-8EF2-D1E852C545F5}" type="pres">
      <dgm:prSet presAssocID="{DB621FDC-5909-4344-8D9D-BE3C2AE0E3D7}" presName="hierRoot2" presStyleCnt="0">
        <dgm:presLayoutVars>
          <dgm:hierBranch val="init"/>
        </dgm:presLayoutVars>
      </dgm:prSet>
      <dgm:spPr/>
    </dgm:pt>
    <dgm:pt modelId="{6EACD98D-CE14-4242-A66C-16581D07AC2E}" type="pres">
      <dgm:prSet presAssocID="{DB621FDC-5909-4344-8D9D-BE3C2AE0E3D7}" presName="rootComposite" presStyleCnt="0"/>
      <dgm:spPr/>
    </dgm:pt>
    <dgm:pt modelId="{F368093F-5616-4787-BBE1-7502D1A81C55}" type="pres">
      <dgm:prSet presAssocID="{DB621FDC-5909-4344-8D9D-BE3C2AE0E3D7}" presName="rootText" presStyleLbl="node1" presStyleIdx="1" presStyleCnt="3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1F1F3A79-5C32-42BF-A074-35B2DBEAA21A}" type="pres">
      <dgm:prSet presAssocID="{DB621FDC-5909-4344-8D9D-BE3C2AE0E3D7}" presName="titleText2" presStyleLbl="fgAcc1" presStyleIdx="1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DD2C2D96-F3DE-4726-A0A4-DFDFC86C50C6}" type="pres">
      <dgm:prSet presAssocID="{DB621FDC-5909-4344-8D9D-BE3C2AE0E3D7}" presName="rootConnector" presStyleLbl="node3" presStyleIdx="0" presStyleCnt="0"/>
      <dgm:spPr/>
      <dgm:t>
        <a:bodyPr/>
        <a:lstStyle/>
        <a:p>
          <a:endParaRPr lang="en-US"/>
        </a:p>
      </dgm:t>
    </dgm:pt>
    <dgm:pt modelId="{ECA7B03D-7717-454B-A610-045DDCF2F107}" type="pres">
      <dgm:prSet presAssocID="{DB621FDC-5909-4344-8D9D-BE3C2AE0E3D7}" presName="hierChild4" presStyleCnt="0"/>
      <dgm:spPr/>
    </dgm:pt>
    <dgm:pt modelId="{0E2837EA-7A9C-40C5-BD36-1368C273EECE}" type="pres">
      <dgm:prSet presAssocID="{DB621FDC-5909-4344-8D9D-BE3C2AE0E3D7}" presName="hierChild5" presStyleCnt="0"/>
      <dgm:spPr/>
    </dgm:pt>
    <dgm:pt modelId="{079ADF2C-7D1C-4CE2-BDA7-CDBE59F18014}" type="pres">
      <dgm:prSet presAssocID="{0E055442-FE41-47C5-9D95-C8E3417880AB}" presName="hierChild5" presStyleCnt="0"/>
      <dgm:spPr/>
    </dgm:pt>
    <dgm:pt modelId="{7C692710-FE1E-4FF9-B776-3DFCF17F65AF}" type="pres">
      <dgm:prSet presAssocID="{973511AB-96D9-4C25-A8CA-9FABB9C345F3}" presName="Name37" presStyleLbl="parChTrans1D2" presStyleIdx="1" presStyleCnt="2"/>
      <dgm:spPr/>
      <dgm:t>
        <a:bodyPr/>
        <a:lstStyle/>
        <a:p>
          <a:endParaRPr lang="en-US"/>
        </a:p>
      </dgm:t>
    </dgm:pt>
    <dgm:pt modelId="{68F6F831-6CFE-45B1-8847-2BB2F2127A7F}" type="pres">
      <dgm:prSet presAssocID="{57AFC9E6-92E5-41D3-B04B-D902096F72D6}" presName="hierRoot2" presStyleCnt="0">
        <dgm:presLayoutVars>
          <dgm:hierBranch val="init"/>
        </dgm:presLayoutVars>
      </dgm:prSet>
      <dgm:spPr/>
    </dgm:pt>
    <dgm:pt modelId="{840B1494-1B7F-4908-9D7B-CB9857763903}" type="pres">
      <dgm:prSet presAssocID="{57AFC9E6-92E5-41D3-B04B-D902096F72D6}" presName="rootComposite" presStyleCnt="0"/>
      <dgm:spPr/>
    </dgm:pt>
    <dgm:pt modelId="{4D0584A6-6242-460F-9334-D770546A688B}" type="pres">
      <dgm:prSet presAssocID="{57AFC9E6-92E5-41D3-B04B-D902096F72D6}" presName="rootText" presStyleLbl="node1" presStyleIdx="2" presStyleCnt="3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CFC074AB-9141-41C7-8E99-10BE29ADB71C}" type="pres">
      <dgm:prSet presAssocID="{57AFC9E6-92E5-41D3-B04B-D902096F72D6}" presName="titleText2" presStyleLbl="fgAcc1" presStyleIdx="2" presStyleCnt="3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471E5C9-CFB6-498D-AB38-EDC8847A1085}" type="pres">
      <dgm:prSet presAssocID="{57AFC9E6-92E5-41D3-B04B-D902096F72D6}" presName="rootConnector" presStyleLbl="node2" presStyleIdx="0" presStyleCnt="0"/>
      <dgm:spPr/>
      <dgm:t>
        <a:bodyPr/>
        <a:lstStyle/>
        <a:p>
          <a:endParaRPr lang="en-US"/>
        </a:p>
      </dgm:t>
    </dgm:pt>
    <dgm:pt modelId="{CB79278C-725B-4B86-8C93-FA8264B4BF82}" type="pres">
      <dgm:prSet presAssocID="{57AFC9E6-92E5-41D3-B04B-D902096F72D6}" presName="hierChild4" presStyleCnt="0"/>
      <dgm:spPr/>
    </dgm:pt>
    <dgm:pt modelId="{85C47B00-3E63-454F-9C63-E6D19C0B905B}" type="pres">
      <dgm:prSet presAssocID="{57AFC9E6-92E5-41D3-B04B-D902096F72D6}" presName="hierChild5" presStyleCnt="0"/>
      <dgm:spPr/>
    </dgm:pt>
    <dgm:pt modelId="{6634495F-3120-4B36-BE55-2FCDCDFFBDC1}" type="pres">
      <dgm:prSet presAssocID="{A76261EB-0171-495F-B01C-FEE19C336E95}" presName="hierChild3" presStyleCnt="0"/>
      <dgm:spPr/>
    </dgm:pt>
  </dgm:ptLst>
  <dgm:cxnLst>
    <dgm:cxn modelId="{9BF86D89-EA89-43EF-A16A-E4D7FF5A5B95}" type="presOf" srcId="{973511AB-96D9-4C25-A8CA-9FABB9C345F3}" destId="{7C692710-FE1E-4FF9-B776-3DFCF17F65AF}" srcOrd="0" destOrd="0" presId="urn:microsoft.com/office/officeart/2008/layout/NameandTitleOrganizationalChart"/>
    <dgm:cxn modelId="{C276D762-0511-4FBE-AA9A-18F362636769}" type="presOf" srcId="{57AFC9E6-92E5-41D3-B04B-D902096F72D6}" destId="{4471E5C9-CFB6-498D-AB38-EDC8847A1085}" srcOrd="1" destOrd="0" presId="urn:microsoft.com/office/officeart/2008/layout/NameandTitleOrganizationalChart"/>
    <dgm:cxn modelId="{A9D43AD4-1F2A-4420-A26D-0B70EAA3AF89}" type="presOf" srcId="{B8FD46C9-DCB8-468F-A3E0-F1B732362C04}" destId="{82EB87DA-1A26-4090-AD1E-2DE64651FD06}" srcOrd="0" destOrd="0" presId="urn:microsoft.com/office/officeart/2008/layout/NameandTitleOrganizationalChart"/>
    <dgm:cxn modelId="{5E1AAAA2-2D7F-472B-B8B4-D465067744C1}" type="presOf" srcId="{A76261EB-0171-495F-B01C-FEE19C336E95}" destId="{23F94806-473D-4106-8B71-2E3D523486AB}" srcOrd="1" destOrd="0" presId="urn:microsoft.com/office/officeart/2008/layout/NameandTitleOrganizationalChart"/>
    <dgm:cxn modelId="{C1712491-2744-4665-A889-0F8F5D047DFE}" type="presOf" srcId="{B7BD25F5-6302-4893-93F2-52FDF5B4EBAD}" destId="{46D85903-DF24-4866-AC5B-7BFE4D06677E}" srcOrd="0" destOrd="0" presId="urn:microsoft.com/office/officeart/2008/layout/NameandTitleOrganizationalChart"/>
    <dgm:cxn modelId="{CE89BC61-6825-49EA-9854-EE931790AE9F}" type="presOf" srcId="{0E055442-FE41-47C5-9D95-C8E3417880AB}" destId="{833B6F7C-F20C-4ACD-9703-742AA914FD73}" srcOrd="1" destOrd="0" presId="urn:microsoft.com/office/officeart/2008/layout/NameandTitleOrganizationalChart"/>
    <dgm:cxn modelId="{C90BE1A9-E813-4618-BE72-43AB2DE87212}" type="presOf" srcId="{A76261EB-0171-495F-B01C-FEE19C336E95}" destId="{179396DE-4BC8-4DD5-A4F4-A2E3DF862D89}" srcOrd="0" destOrd="0" presId="urn:microsoft.com/office/officeart/2008/layout/NameandTitleOrganizationalChart"/>
    <dgm:cxn modelId="{D64E942E-6AB3-4C35-848F-DA22F083D01E}" type="presOf" srcId="{06BB1840-35BC-4874-A1E6-A73503937198}" destId="{1F1F3A79-5C32-42BF-A074-35B2DBEAA21A}" srcOrd="0" destOrd="0" presId="urn:microsoft.com/office/officeart/2008/layout/NameandTitleOrganizationalChart"/>
    <dgm:cxn modelId="{A1D8D080-84D8-402B-9EE5-79DB3D968749}" type="presOf" srcId="{D089DF42-35E3-4C2E-A495-3266A484CCF5}" destId="{9612EBEE-C49E-4842-BE92-B4FB1F31EA49}" srcOrd="0" destOrd="0" presId="urn:microsoft.com/office/officeart/2008/layout/NameandTitleOrganizationalChart"/>
    <dgm:cxn modelId="{9B78878D-9856-43BF-9B2E-A6FC0E98CE78}" type="presOf" srcId="{DB621FDC-5909-4344-8D9D-BE3C2AE0E3D7}" destId="{DD2C2D96-F3DE-4726-A0A4-DFDFC86C50C6}" srcOrd="1" destOrd="0" presId="urn:microsoft.com/office/officeart/2008/layout/NameandTitleOrganizationalChart"/>
    <dgm:cxn modelId="{204D94F4-1EE5-4AF9-A183-6AAF31CC3334}" type="presOf" srcId="{57AFC9E6-92E5-41D3-B04B-D902096F72D6}" destId="{4D0584A6-6242-460F-9334-D770546A688B}" srcOrd="0" destOrd="0" presId="urn:microsoft.com/office/officeart/2008/layout/NameandTitleOrganizationalChart"/>
    <dgm:cxn modelId="{64104D6A-CD7E-466E-89A5-854C6DFC5645}" type="presOf" srcId="{6CBE751C-5D9D-413A-A7B4-2F4AE3EEB9F9}" destId="{CFC074AB-9141-41C7-8E99-10BE29ADB71C}" srcOrd="0" destOrd="0" presId="urn:microsoft.com/office/officeart/2008/layout/NameandTitleOrganizationalChart"/>
    <dgm:cxn modelId="{E4575097-B293-407B-983A-5215BE9C6B9D}" srcId="{A76261EB-0171-495F-B01C-FEE19C336E95}" destId="{0E055442-FE41-47C5-9D95-C8E3417880AB}" srcOrd="0" destOrd="0" parTransId="{3E75E917-A50C-420A-AA35-059FF8459A10}" sibTransId="{B8FD46C9-DCB8-468F-A3E0-F1B732362C04}"/>
    <dgm:cxn modelId="{11BA13EA-DC5B-4988-ABE5-793F403CED4B}" srcId="{0E055442-FE41-47C5-9D95-C8E3417880AB}" destId="{DB621FDC-5909-4344-8D9D-BE3C2AE0E3D7}" srcOrd="0" destOrd="0" parTransId="{2E0151E9-33E1-4754-92FF-57EC2475B379}" sibTransId="{06BB1840-35BC-4874-A1E6-A73503937198}"/>
    <dgm:cxn modelId="{52DD9974-798F-4ADF-AD7A-0D56F413717F}" type="presOf" srcId="{3E75E917-A50C-420A-AA35-059FF8459A10}" destId="{52FE3C7C-536D-4A02-883C-915D928CB6F9}" srcOrd="0" destOrd="0" presId="urn:microsoft.com/office/officeart/2008/layout/NameandTitleOrganizationalChart"/>
    <dgm:cxn modelId="{E789C7C1-7095-4E97-B450-FA8FED4C0146}" srcId="{B7BD25F5-6302-4893-93F2-52FDF5B4EBAD}" destId="{A76261EB-0171-495F-B01C-FEE19C336E95}" srcOrd="0" destOrd="0" parTransId="{251F7718-5450-4C52-A6D6-15B812BA51FC}" sibTransId="{D089DF42-35E3-4C2E-A495-3266A484CCF5}"/>
    <dgm:cxn modelId="{D6838397-AC58-49E4-B7F1-D07A64D4C4A4}" type="presOf" srcId="{0E055442-FE41-47C5-9D95-C8E3417880AB}" destId="{1AD1E644-3FD8-417E-82B8-0BAF464C1A1A}" srcOrd="0" destOrd="0" presId="urn:microsoft.com/office/officeart/2008/layout/NameandTitleOrganizationalChart"/>
    <dgm:cxn modelId="{055D2B81-54A5-42AD-A8C2-C4FEA27BBAE2}" type="presOf" srcId="{2E0151E9-33E1-4754-92FF-57EC2475B379}" destId="{B83DFCE0-7047-4341-BFDF-EFE14743AC60}" srcOrd="0" destOrd="0" presId="urn:microsoft.com/office/officeart/2008/layout/NameandTitleOrganizationalChart"/>
    <dgm:cxn modelId="{88A02389-2103-4B0B-B5DC-1D0BB7BDB41D}" type="presOf" srcId="{DB621FDC-5909-4344-8D9D-BE3C2AE0E3D7}" destId="{F368093F-5616-4787-BBE1-7502D1A81C55}" srcOrd="0" destOrd="0" presId="urn:microsoft.com/office/officeart/2008/layout/NameandTitleOrganizationalChart"/>
    <dgm:cxn modelId="{C145884A-C1CE-4E06-B0A9-2672C01114BB}" srcId="{A76261EB-0171-495F-B01C-FEE19C336E95}" destId="{57AFC9E6-92E5-41D3-B04B-D902096F72D6}" srcOrd="1" destOrd="0" parTransId="{973511AB-96D9-4C25-A8CA-9FABB9C345F3}" sibTransId="{6CBE751C-5D9D-413A-A7B4-2F4AE3EEB9F9}"/>
    <dgm:cxn modelId="{C352905E-4A7C-41C8-9427-EAA01805B1B2}" type="presParOf" srcId="{46D85903-DF24-4866-AC5B-7BFE4D06677E}" destId="{24318B39-1C2B-48D4-8402-FB2CD165870C}" srcOrd="0" destOrd="0" presId="urn:microsoft.com/office/officeart/2008/layout/NameandTitleOrganizationalChart"/>
    <dgm:cxn modelId="{F4F6B0FD-57A2-47DF-A04D-95C96B2D7F70}" type="presParOf" srcId="{24318B39-1C2B-48D4-8402-FB2CD165870C}" destId="{2352F99D-4AE7-4087-81AE-A79E26AB0FFE}" srcOrd="0" destOrd="0" presId="urn:microsoft.com/office/officeart/2008/layout/NameandTitleOrganizationalChart"/>
    <dgm:cxn modelId="{415083C0-77DB-4AD6-860D-E69796611391}" type="presParOf" srcId="{2352F99D-4AE7-4087-81AE-A79E26AB0FFE}" destId="{179396DE-4BC8-4DD5-A4F4-A2E3DF862D89}" srcOrd="0" destOrd="0" presId="urn:microsoft.com/office/officeart/2008/layout/NameandTitleOrganizationalChart"/>
    <dgm:cxn modelId="{BB383AF1-79BF-4847-A4F7-BDB5ACFD537E}" type="presParOf" srcId="{2352F99D-4AE7-4087-81AE-A79E26AB0FFE}" destId="{9612EBEE-C49E-4842-BE92-B4FB1F31EA49}" srcOrd="1" destOrd="0" presId="urn:microsoft.com/office/officeart/2008/layout/NameandTitleOrganizationalChart"/>
    <dgm:cxn modelId="{1E32E3AB-E762-47E7-8EA0-86746E086B6B}" type="presParOf" srcId="{2352F99D-4AE7-4087-81AE-A79E26AB0FFE}" destId="{23F94806-473D-4106-8B71-2E3D523486AB}" srcOrd="2" destOrd="0" presId="urn:microsoft.com/office/officeart/2008/layout/NameandTitleOrganizationalChart"/>
    <dgm:cxn modelId="{E02C56ED-7F30-4E47-AC23-594F90CF8191}" type="presParOf" srcId="{24318B39-1C2B-48D4-8402-FB2CD165870C}" destId="{FA007652-64FC-486C-B08C-DC129C7DBF3D}" srcOrd="1" destOrd="0" presId="urn:microsoft.com/office/officeart/2008/layout/NameandTitleOrganizationalChart"/>
    <dgm:cxn modelId="{77CAE68E-0934-4D42-96E0-CD129EBCD2E2}" type="presParOf" srcId="{FA007652-64FC-486C-B08C-DC129C7DBF3D}" destId="{52FE3C7C-536D-4A02-883C-915D928CB6F9}" srcOrd="0" destOrd="0" presId="urn:microsoft.com/office/officeart/2008/layout/NameandTitleOrganizationalChart"/>
    <dgm:cxn modelId="{57000201-9B9E-4A9F-845F-2D80EBAD1A1E}" type="presParOf" srcId="{FA007652-64FC-486C-B08C-DC129C7DBF3D}" destId="{9CBF65CB-3F42-4CF3-8951-F9CAF298345F}" srcOrd="1" destOrd="0" presId="urn:microsoft.com/office/officeart/2008/layout/NameandTitleOrganizationalChart"/>
    <dgm:cxn modelId="{ABF755C3-7DD6-4CB0-AE4C-75A6642F0DA0}" type="presParOf" srcId="{9CBF65CB-3F42-4CF3-8951-F9CAF298345F}" destId="{2C3249AD-5D85-43B3-94E2-700049A240E4}" srcOrd="0" destOrd="0" presId="urn:microsoft.com/office/officeart/2008/layout/NameandTitleOrganizationalChart"/>
    <dgm:cxn modelId="{965814D3-1025-42DE-A21D-BDA30020D1CE}" type="presParOf" srcId="{2C3249AD-5D85-43B3-94E2-700049A240E4}" destId="{1AD1E644-3FD8-417E-82B8-0BAF464C1A1A}" srcOrd="0" destOrd="0" presId="urn:microsoft.com/office/officeart/2008/layout/NameandTitleOrganizationalChart"/>
    <dgm:cxn modelId="{9750EAE5-044E-4433-8197-6BBADA69152D}" type="presParOf" srcId="{2C3249AD-5D85-43B3-94E2-700049A240E4}" destId="{82EB87DA-1A26-4090-AD1E-2DE64651FD06}" srcOrd="1" destOrd="0" presId="urn:microsoft.com/office/officeart/2008/layout/NameandTitleOrganizationalChart"/>
    <dgm:cxn modelId="{85CEA6EF-DCFD-43BF-8981-77F0C2BBA293}" type="presParOf" srcId="{2C3249AD-5D85-43B3-94E2-700049A240E4}" destId="{833B6F7C-F20C-4ACD-9703-742AA914FD73}" srcOrd="2" destOrd="0" presId="urn:microsoft.com/office/officeart/2008/layout/NameandTitleOrganizationalChart"/>
    <dgm:cxn modelId="{F1190A36-9BE9-4C4B-B3A4-7DFAC6701E75}" type="presParOf" srcId="{9CBF65CB-3F42-4CF3-8951-F9CAF298345F}" destId="{CBA015C2-8084-417F-95B4-01483A02857D}" srcOrd="1" destOrd="0" presId="urn:microsoft.com/office/officeart/2008/layout/NameandTitleOrganizationalChart"/>
    <dgm:cxn modelId="{B78D5B1E-BBC6-4D95-B801-DCC36344AE63}" type="presParOf" srcId="{CBA015C2-8084-417F-95B4-01483A02857D}" destId="{B83DFCE0-7047-4341-BFDF-EFE14743AC60}" srcOrd="0" destOrd="0" presId="urn:microsoft.com/office/officeart/2008/layout/NameandTitleOrganizationalChart"/>
    <dgm:cxn modelId="{212A503A-8F7E-4737-BC6B-1EC198BC7D85}" type="presParOf" srcId="{CBA015C2-8084-417F-95B4-01483A02857D}" destId="{2CB3BF85-F988-47DC-8EF2-D1E852C545F5}" srcOrd="1" destOrd="0" presId="urn:microsoft.com/office/officeart/2008/layout/NameandTitleOrganizationalChart"/>
    <dgm:cxn modelId="{F0A7480F-6CCC-4618-A810-187DFE7112E8}" type="presParOf" srcId="{2CB3BF85-F988-47DC-8EF2-D1E852C545F5}" destId="{6EACD98D-CE14-4242-A66C-16581D07AC2E}" srcOrd="0" destOrd="0" presId="urn:microsoft.com/office/officeart/2008/layout/NameandTitleOrganizationalChart"/>
    <dgm:cxn modelId="{61F4E3BE-1063-4622-8595-ED1AA45CE80A}" type="presParOf" srcId="{6EACD98D-CE14-4242-A66C-16581D07AC2E}" destId="{F368093F-5616-4787-BBE1-7502D1A81C55}" srcOrd="0" destOrd="0" presId="urn:microsoft.com/office/officeart/2008/layout/NameandTitleOrganizationalChart"/>
    <dgm:cxn modelId="{63548EE8-18B6-4F87-A443-ACED0DAAFFB6}" type="presParOf" srcId="{6EACD98D-CE14-4242-A66C-16581D07AC2E}" destId="{1F1F3A79-5C32-42BF-A074-35B2DBEAA21A}" srcOrd="1" destOrd="0" presId="urn:microsoft.com/office/officeart/2008/layout/NameandTitleOrganizationalChart"/>
    <dgm:cxn modelId="{F7158A15-AF6A-4475-B935-BD3BA1DD81A0}" type="presParOf" srcId="{6EACD98D-CE14-4242-A66C-16581D07AC2E}" destId="{DD2C2D96-F3DE-4726-A0A4-DFDFC86C50C6}" srcOrd="2" destOrd="0" presId="urn:microsoft.com/office/officeart/2008/layout/NameandTitleOrganizationalChart"/>
    <dgm:cxn modelId="{CB9C4533-89D2-4710-AFBF-F2250E45B7A8}" type="presParOf" srcId="{2CB3BF85-F988-47DC-8EF2-D1E852C545F5}" destId="{ECA7B03D-7717-454B-A610-045DDCF2F107}" srcOrd="1" destOrd="0" presId="urn:microsoft.com/office/officeart/2008/layout/NameandTitleOrganizationalChart"/>
    <dgm:cxn modelId="{FB7514AC-257F-4F3F-987B-2247B638E365}" type="presParOf" srcId="{2CB3BF85-F988-47DC-8EF2-D1E852C545F5}" destId="{0E2837EA-7A9C-40C5-BD36-1368C273EECE}" srcOrd="2" destOrd="0" presId="urn:microsoft.com/office/officeart/2008/layout/NameandTitleOrganizationalChart"/>
    <dgm:cxn modelId="{F33D863E-C5B5-476B-AA04-9E453A71BC74}" type="presParOf" srcId="{9CBF65CB-3F42-4CF3-8951-F9CAF298345F}" destId="{079ADF2C-7D1C-4CE2-BDA7-CDBE59F18014}" srcOrd="2" destOrd="0" presId="urn:microsoft.com/office/officeart/2008/layout/NameandTitleOrganizationalChart"/>
    <dgm:cxn modelId="{8C72550B-6886-42E3-BF41-6B37BC49AF2B}" type="presParOf" srcId="{FA007652-64FC-486C-B08C-DC129C7DBF3D}" destId="{7C692710-FE1E-4FF9-B776-3DFCF17F65AF}" srcOrd="2" destOrd="0" presId="urn:microsoft.com/office/officeart/2008/layout/NameandTitleOrganizationalChart"/>
    <dgm:cxn modelId="{A2BA91C0-995F-4AE8-AE01-25A21B152BB1}" type="presParOf" srcId="{FA007652-64FC-486C-B08C-DC129C7DBF3D}" destId="{68F6F831-6CFE-45B1-8847-2BB2F2127A7F}" srcOrd="3" destOrd="0" presId="urn:microsoft.com/office/officeart/2008/layout/NameandTitleOrganizationalChart"/>
    <dgm:cxn modelId="{0BA72373-565C-4E7C-A46E-5CCF7EAFB05D}" type="presParOf" srcId="{68F6F831-6CFE-45B1-8847-2BB2F2127A7F}" destId="{840B1494-1B7F-4908-9D7B-CB9857763903}" srcOrd="0" destOrd="0" presId="urn:microsoft.com/office/officeart/2008/layout/NameandTitleOrganizationalChart"/>
    <dgm:cxn modelId="{EEF39504-F3FC-4236-954B-CDDC04515250}" type="presParOf" srcId="{840B1494-1B7F-4908-9D7B-CB9857763903}" destId="{4D0584A6-6242-460F-9334-D770546A688B}" srcOrd="0" destOrd="0" presId="urn:microsoft.com/office/officeart/2008/layout/NameandTitleOrganizationalChart"/>
    <dgm:cxn modelId="{25C3E417-1B35-4992-A8E3-EE07AA18277E}" type="presParOf" srcId="{840B1494-1B7F-4908-9D7B-CB9857763903}" destId="{CFC074AB-9141-41C7-8E99-10BE29ADB71C}" srcOrd="1" destOrd="0" presId="urn:microsoft.com/office/officeart/2008/layout/NameandTitleOrganizationalChart"/>
    <dgm:cxn modelId="{4E0B67C9-EC55-4EA1-B7B9-A96F72E2DC33}" type="presParOf" srcId="{840B1494-1B7F-4908-9D7B-CB9857763903}" destId="{4471E5C9-CFB6-498D-AB38-EDC8847A1085}" srcOrd="2" destOrd="0" presId="urn:microsoft.com/office/officeart/2008/layout/NameandTitleOrganizationalChart"/>
    <dgm:cxn modelId="{84E6ADDA-9671-4EA2-A4FD-31C5D43A17E9}" type="presParOf" srcId="{68F6F831-6CFE-45B1-8847-2BB2F2127A7F}" destId="{CB79278C-725B-4B86-8C93-FA8264B4BF82}" srcOrd="1" destOrd="0" presId="urn:microsoft.com/office/officeart/2008/layout/NameandTitleOrganizationalChart"/>
    <dgm:cxn modelId="{D5502650-18D1-44D0-98E6-25E75A750B40}" type="presParOf" srcId="{68F6F831-6CFE-45B1-8847-2BB2F2127A7F}" destId="{85C47B00-3E63-454F-9C63-E6D19C0B905B}" srcOrd="2" destOrd="0" presId="urn:microsoft.com/office/officeart/2008/layout/NameandTitleOrganizationalChart"/>
    <dgm:cxn modelId="{8CF0D0E6-8089-481C-BBE7-48403C76D453}" type="presParOf" srcId="{24318B39-1C2B-48D4-8402-FB2CD165870C}" destId="{6634495F-3120-4B36-BE55-2FCDCDFFBDC1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72E05C-401E-41F9-A209-8AEF2D276BD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944BB5-FA95-4697-A30A-C26610522946}">
      <dgm:prSet phldrT="[Text]"/>
      <dgm:spPr/>
      <dgm:t>
        <a:bodyPr/>
        <a:lstStyle/>
        <a:p>
          <a:r>
            <a:rPr lang="en-US" dirty="0" smtClean="0"/>
            <a:t>Attribute/Signal</a:t>
          </a:r>
          <a:endParaRPr lang="en-US" dirty="0"/>
        </a:p>
      </dgm:t>
    </dgm:pt>
    <dgm:pt modelId="{5C50D0F1-0737-4E68-B031-FE25E25E2365}" type="parTrans" cxnId="{B88CEF6D-7904-4D20-9BA3-F7E9F66F0B35}">
      <dgm:prSet/>
      <dgm:spPr/>
      <dgm:t>
        <a:bodyPr/>
        <a:lstStyle/>
        <a:p>
          <a:endParaRPr lang="en-US"/>
        </a:p>
      </dgm:t>
    </dgm:pt>
    <dgm:pt modelId="{207F906C-1E0C-45A1-A837-1E3CFB4E7FEB}" type="sibTrans" cxnId="{B88CEF6D-7904-4D20-9BA3-F7E9F66F0B35}">
      <dgm:prSet/>
      <dgm:spPr/>
      <dgm:t>
        <a:bodyPr/>
        <a:lstStyle/>
        <a:p>
          <a:endParaRPr lang="en-US"/>
        </a:p>
      </dgm:t>
    </dgm:pt>
    <dgm:pt modelId="{AF613442-0BD9-46ED-AC95-4CABA8D66911}">
      <dgm:prSet phldrT="[Text]"/>
      <dgm:spPr/>
      <dgm:t>
        <a:bodyPr/>
        <a:lstStyle/>
        <a:p>
          <a:r>
            <a:rPr lang="en-US" dirty="0" smtClean="0"/>
            <a:t>Body</a:t>
          </a:r>
          <a:endParaRPr lang="en-US" dirty="0"/>
        </a:p>
      </dgm:t>
    </dgm:pt>
    <dgm:pt modelId="{A73902B5-6A97-4F4C-AE5B-385720AB3F42}" type="parTrans" cxnId="{7BB7045A-CAA9-4DAA-9190-204F37DF5427}">
      <dgm:prSet/>
      <dgm:spPr/>
      <dgm:t>
        <a:bodyPr/>
        <a:lstStyle/>
        <a:p>
          <a:endParaRPr lang="en-US"/>
        </a:p>
      </dgm:t>
    </dgm:pt>
    <dgm:pt modelId="{568F1DD1-988D-4988-808B-986AC02DD15C}" type="sibTrans" cxnId="{7BB7045A-CAA9-4DAA-9190-204F37DF5427}">
      <dgm:prSet/>
      <dgm:spPr/>
      <dgm:t>
        <a:bodyPr/>
        <a:lstStyle/>
        <a:p>
          <a:endParaRPr lang="en-US"/>
        </a:p>
      </dgm:t>
    </dgm:pt>
    <dgm:pt modelId="{C22C0127-C085-4EAB-BA71-84CF6FE8E1C6}">
      <dgm:prSet phldrT="[Text]"/>
      <dgm:spPr/>
      <dgm:t>
        <a:bodyPr/>
        <a:lstStyle/>
        <a:p>
          <a:r>
            <a:rPr lang="en-US" dirty="0" smtClean="0"/>
            <a:t>ADAS</a:t>
          </a:r>
          <a:endParaRPr lang="en-US" dirty="0"/>
        </a:p>
      </dgm:t>
    </dgm:pt>
    <dgm:pt modelId="{4370EB74-91B5-414E-9AE7-6FAF170203F4}" type="parTrans" cxnId="{0274280D-FBAD-496F-B345-6BC685308E99}">
      <dgm:prSet/>
      <dgm:spPr/>
      <dgm:t>
        <a:bodyPr/>
        <a:lstStyle/>
        <a:p>
          <a:endParaRPr lang="en-US"/>
        </a:p>
      </dgm:t>
    </dgm:pt>
    <dgm:pt modelId="{8F3E5848-8614-42D3-8631-3C52CD9D7FE3}" type="sibTrans" cxnId="{0274280D-FBAD-496F-B345-6BC685308E99}">
      <dgm:prSet/>
      <dgm:spPr/>
      <dgm:t>
        <a:bodyPr/>
        <a:lstStyle/>
        <a:p>
          <a:endParaRPr lang="en-US"/>
        </a:p>
      </dgm:t>
    </dgm:pt>
    <dgm:pt modelId="{09AFF02B-E683-4F92-BDA7-7BD0AC4C64FF}">
      <dgm:prSet phldrT="[Text]"/>
      <dgm:spPr/>
      <dgm:t>
        <a:bodyPr/>
        <a:lstStyle/>
        <a:p>
          <a:r>
            <a:rPr lang="en-US" dirty="0" smtClean="0"/>
            <a:t>Cabin</a:t>
          </a:r>
          <a:endParaRPr lang="en-US" dirty="0"/>
        </a:p>
      </dgm:t>
    </dgm:pt>
    <dgm:pt modelId="{F56EE1ED-A2DC-4D4F-87A3-5EE30A57AB9A}" type="parTrans" cxnId="{EC60430D-CF1F-4F7D-A05F-CE8B0F3689DC}">
      <dgm:prSet/>
      <dgm:spPr/>
      <dgm:t>
        <a:bodyPr/>
        <a:lstStyle/>
        <a:p>
          <a:endParaRPr lang="en-US"/>
        </a:p>
      </dgm:t>
    </dgm:pt>
    <dgm:pt modelId="{15B75840-A40B-475D-B26F-BD65328F96B0}" type="sibTrans" cxnId="{EC60430D-CF1F-4F7D-A05F-CE8B0F3689DC}">
      <dgm:prSet/>
      <dgm:spPr/>
      <dgm:t>
        <a:bodyPr/>
        <a:lstStyle/>
        <a:p>
          <a:endParaRPr lang="en-US"/>
        </a:p>
      </dgm:t>
    </dgm:pt>
    <dgm:pt modelId="{0CD029D3-91CF-498E-91A4-2D6B4FE879A8}">
      <dgm:prSet phldrT="[Text]"/>
      <dgm:spPr/>
      <dgm:t>
        <a:bodyPr/>
        <a:lstStyle/>
        <a:p>
          <a:r>
            <a:rPr lang="en-US" dirty="0" smtClean="0"/>
            <a:t>Chassis</a:t>
          </a:r>
          <a:endParaRPr lang="en-US" dirty="0"/>
        </a:p>
      </dgm:t>
    </dgm:pt>
    <dgm:pt modelId="{5EE5739B-38BE-46E1-A8CD-614D5E3A3989}" type="parTrans" cxnId="{675FF844-7B14-4B5A-9C42-FCF18BA10B2A}">
      <dgm:prSet/>
      <dgm:spPr/>
      <dgm:t>
        <a:bodyPr/>
        <a:lstStyle/>
        <a:p>
          <a:endParaRPr lang="en-US"/>
        </a:p>
      </dgm:t>
    </dgm:pt>
    <dgm:pt modelId="{AF16EB81-4CCB-4EB1-BAE8-44CEFCA51191}" type="sibTrans" cxnId="{675FF844-7B14-4B5A-9C42-FCF18BA10B2A}">
      <dgm:prSet/>
      <dgm:spPr/>
      <dgm:t>
        <a:bodyPr/>
        <a:lstStyle/>
        <a:p>
          <a:endParaRPr lang="en-US"/>
        </a:p>
      </dgm:t>
    </dgm:pt>
    <dgm:pt modelId="{60C9395B-6613-47A4-AB3D-AC56BCE2DF0E}">
      <dgm:prSet phldrT="[Text]"/>
      <dgm:spPr/>
      <dgm:t>
        <a:bodyPr/>
        <a:lstStyle/>
        <a:p>
          <a:r>
            <a:rPr lang="en-US" dirty="0" smtClean="0"/>
            <a:t>Drivetrain</a:t>
          </a:r>
          <a:endParaRPr lang="en-US" dirty="0"/>
        </a:p>
      </dgm:t>
    </dgm:pt>
    <dgm:pt modelId="{BB3EFC77-3600-4C74-BABF-0B2BFB858476}" type="parTrans" cxnId="{C8C127E1-9691-4DAD-BE95-7E8AEF1D48D1}">
      <dgm:prSet/>
      <dgm:spPr/>
      <dgm:t>
        <a:bodyPr/>
        <a:lstStyle/>
        <a:p>
          <a:endParaRPr lang="en-US"/>
        </a:p>
      </dgm:t>
    </dgm:pt>
    <dgm:pt modelId="{3A0A5D31-7831-4504-B238-15DFE5BF9A15}" type="sibTrans" cxnId="{C8C127E1-9691-4DAD-BE95-7E8AEF1D48D1}">
      <dgm:prSet/>
      <dgm:spPr/>
      <dgm:t>
        <a:bodyPr/>
        <a:lstStyle/>
        <a:p>
          <a:endParaRPr lang="en-US"/>
        </a:p>
      </dgm:t>
    </dgm:pt>
    <dgm:pt modelId="{AA19186D-761A-452B-9E25-197BC8A35BE1}">
      <dgm:prSet phldrT="[Text]"/>
      <dgm:spPr/>
      <dgm:t>
        <a:bodyPr/>
        <a:lstStyle/>
        <a:p>
          <a:r>
            <a:rPr lang="en-US" dirty="0" smtClean="0"/>
            <a:t>OBD</a:t>
          </a:r>
          <a:endParaRPr lang="en-US" dirty="0"/>
        </a:p>
      </dgm:t>
    </dgm:pt>
    <dgm:pt modelId="{EE2E2D29-FB7D-4F76-A308-02DF1BFF1800}" type="parTrans" cxnId="{882E31CF-3739-4FA1-A715-F28315305264}">
      <dgm:prSet/>
      <dgm:spPr/>
      <dgm:t>
        <a:bodyPr/>
        <a:lstStyle/>
        <a:p>
          <a:endParaRPr lang="en-US"/>
        </a:p>
      </dgm:t>
    </dgm:pt>
    <dgm:pt modelId="{CC728D5B-7927-4685-AD9D-DBA8610A040F}" type="sibTrans" cxnId="{882E31CF-3739-4FA1-A715-F28315305264}">
      <dgm:prSet/>
      <dgm:spPr/>
      <dgm:t>
        <a:bodyPr/>
        <a:lstStyle/>
        <a:p>
          <a:endParaRPr lang="en-US"/>
        </a:p>
      </dgm:t>
    </dgm:pt>
    <dgm:pt modelId="{E790BAEE-7805-449F-9DFB-03188C4AC003}">
      <dgm:prSet phldrT="[Text]"/>
      <dgm:spPr/>
      <dgm:t>
        <a:bodyPr/>
        <a:lstStyle/>
        <a:p>
          <a:r>
            <a:rPr lang="en-US" dirty="0" smtClean="0"/>
            <a:t>Vehicle</a:t>
          </a:r>
          <a:endParaRPr lang="en-US" dirty="0"/>
        </a:p>
      </dgm:t>
    </dgm:pt>
    <dgm:pt modelId="{396C3C0C-4AE1-4629-AC04-C31D35CE4B53}" type="parTrans" cxnId="{0E4491C4-23E7-45A3-8B6B-47617224FFE1}">
      <dgm:prSet/>
      <dgm:spPr/>
      <dgm:t>
        <a:bodyPr/>
        <a:lstStyle/>
        <a:p>
          <a:endParaRPr lang="en-US"/>
        </a:p>
      </dgm:t>
    </dgm:pt>
    <dgm:pt modelId="{8FBBA0A6-C35B-44EE-9CF8-43FBA9A60BD4}" type="sibTrans" cxnId="{0E4491C4-23E7-45A3-8B6B-47617224FFE1}">
      <dgm:prSet/>
      <dgm:spPr/>
      <dgm:t>
        <a:bodyPr/>
        <a:lstStyle/>
        <a:p>
          <a:endParaRPr lang="en-US"/>
        </a:p>
      </dgm:t>
    </dgm:pt>
    <dgm:pt modelId="{1F96F4D2-E63D-413D-9B31-0A5CC2425DFE}" type="pres">
      <dgm:prSet presAssocID="{CB72E05C-401E-41F9-A209-8AEF2D276BD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E149003-7EA8-4C52-841A-FEC5931354D5}" type="pres">
      <dgm:prSet presAssocID="{5C944BB5-FA95-4697-A30A-C26610522946}" presName="hierRoot1" presStyleCnt="0">
        <dgm:presLayoutVars>
          <dgm:hierBranch val="init"/>
        </dgm:presLayoutVars>
      </dgm:prSet>
      <dgm:spPr/>
    </dgm:pt>
    <dgm:pt modelId="{030BADCD-2172-4B9E-AAC6-97BF6ECCB8A7}" type="pres">
      <dgm:prSet presAssocID="{5C944BB5-FA95-4697-A30A-C26610522946}" presName="rootComposite1" presStyleCnt="0"/>
      <dgm:spPr/>
    </dgm:pt>
    <dgm:pt modelId="{0F03B506-DF7D-4EDC-9CBB-838910818EB2}" type="pres">
      <dgm:prSet presAssocID="{5C944BB5-FA95-4697-A30A-C26610522946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FB563E-E9E4-4C3D-AE62-0D07C13F7C21}" type="pres">
      <dgm:prSet presAssocID="{5C944BB5-FA95-4697-A30A-C26610522946}" presName="rootConnector1" presStyleLbl="node1" presStyleIdx="0" presStyleCnt="0"/>
      <dgm:spPr/>
      <dgm:t>
        <a:bodyPr/>
        <a:lstStyle/>
        <a:p>
          <a:endParaRPr lang="en-US"/>
        </a:p>
      </dgm:t>
    </dgm:pt>
    <dgm:pt modelId="{DD82F826-9986-417E-BE47-549EB1B5DEB4}" type="pres">
      <dgm:prSet presAssocID="{5C944BB5-FA95-4697-A30A-C26610522946}" presName="hierChild2" presStyleCnt="0"/>
      <dgm:spPr/>
    </dgm:pt>
    <dgm:pt modelId="{D2703CDA-D3D5-4CBB-9076-173417D9B457}" type="pres">
      <dgm:prSet presAssocID="{A73902B5-6A97-4F4C-AE5B-385720AB3F42}" presName="Name37" presStyleLbl="parChTrans1D2" presStyleIdx="0" presStyleCnt="7"/>
      <dgm:spPr/>
      <dgm:t>
        <a:bodyPr/>
        <a:lstStyle/>
        <a:p>
          <a:endParaRPr lang="en-US"/>
        </a:p>
      </dgm:t>
    </dgm:pt>
    <dgm:pt modelId="{A406CB97-A64D-4F66-B04B-FB2753FB1EB7}" type="pres">
      <dgm:prSet presAssocID="{AF613442-0BD9-46ED-AC95-4CABA8D66911}" presName="hierRoot2" presStyleCnt="0">
        <dgm:presLayoutVars>
          <dgm:hierBranch val="init"/>
        </dgm:presLayoutVars>
      </dgm:prSet>
      <dgm:spPr/>
    </dgm:pt>
    <dgm:pt modelId="{71D62B99-B763-42C3-B119-EDE933D2DFA9}" type="pres">
      <dgm:prSet presAssocID="{AF613442-0BD9-46ED-AC95-4CABA8D66911}" presName="rootComposite" presStyleCnt="0"/>
      <dgm:spPr/>
    </dgm:pt>
    <dgm:pt modelId="{FC9F55D5-578C-4FBE-80B2-894D2BA3D127}" type="pres">
      <dgm:prSet presAssocID="{AF613442-0BD9-46ED-AC95-4CABA8D66911}" presName="rootText" presStyleLbl="node2" presStyleIdx="0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39A5186-F9BD-4A93-885B-A22BBD1F10DC}" type="pres">
      <dgm:prSet presAssocID="{AF613442-0BD9-46ED-AC95-4CABA8D66911}" presName="rootConnector" presStyleLbl="node2" presStyleIdx="0" presStyleCnt="7"/>
      <dgm:spPr/>
      <dgm:t>
        <a:bodyPr/>
        <a:lstStyle/>
        <a:p>
          <a:endParaRPr lang="en-US"/>
        </a:p>
      </dgm:t>
    </dgm:pt>
    <dgm:pt modelId="{27A132DD-F13D-479A-81CD-52B1783F694A}" type="pres">
      <dgm:prSet presAssocID="{AF613442-0BD9-46ED-AC95-4CABA8D66911}" presName="hierChild4" presStyleCnt="0"/>
      <dgm:spPr/>
    </dgm:pt>
    <dgm:pt modelId="{C8998C84-44B1-416B-9E0B-E30B0491406F}" type="pres">
      <dgm:prSet presAssocID="{AF613442-0BD9-46ED-AC95-4CABA8D66911}" presName="hierChild5" presStyleCnt="0"/>
      <dgm:spPr/>
    </dgm:pt>
    <dgm:pt modelId="{67768A83-836E-4026-A78B-38C831358306}" type="pres">
      <dgm:prSet presAssocID="{4370EB74-91B5-414E-9AE7-6FAF170203F4}" presName="Name37" presStyleLbl="parChTrans1D2" presStyleIdx="1" presStyleCnt="7"/>
      <dgm:spPr/>
      <dgm:t>
        <a:bodyPr/>
        <a:lstStyle/>
        <a:p>
          <a:endParaRPr lang="en-US"/>
        </a:p>
      </dgm:t>
    </dgm:pt>
    <dgm:pt modelId="{39587C31-21E9-4939-A6D4-74CBC388F1A2}" type="pres">
      <dgm:prSet presAssocID="{C22C0127-C085-4EAB-BA71-84CF6FE8E1C6}" presName="hierRoot2" presStyleCnt="0">
        <dgm:presLayoutVars>
          <dgm:hierBranch val="init"/>
        </dgm:presLayoutVars>
      </dgm:prSet>
      <dgm:spPr/>
    </dgm:pt>
    <dgm:pt modelId="{87441A9E-3A5B-4F5F-8AB0-DD2AF7A04610}" type="pres">
      <dgm:prSet presAssocID="{C22C0127-C085-4EAB-BA71-84CF6FE8E1C6}" presName="rootComposite" presStyleCnt="0"/>
      <dgm:spPr/>
    </dgm:pt>
    <dgm:pt modelId="{1D8D751D-E1B0-4B0E-B84D-9060579A4972}" type="pres">
      <dgm:prSet presAssocID="{C22C0127-C085-4EAB-BA71-84CF6FE8E1C6}" presName="rootText" presStyleLbl="node2" presStyleIdx="1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3BDF5A-5596-4A0A-ADE5-218C5F00E5EC}" type="pres">
      <dgm:prSet presAssocID="{C22C0127-C085-4EAB-BA71-84CF6FE8E1C6}" presName="rootConnector" presStyleLbl="node2" presStyleIdx="1" presStyleCnt="7"/>
      <dgm:spPr/>
      <dgm:t>
        <a:bodyPr/>
        <a:lstStyle/>
        <a:p>
          <a:endParaRPr lang="en-US"/>
        </a:p>
      </dgm:t>
    </dgm:pt>
    <dgm:pt modelId="{602B5677-FA87-42F1-BDAC-B789699D6E8D}" type="pres">
      <dgm:prSet presAssocID="{C22C0127-C085-4EAB-BA71-84CF6FE8E1C6}" presName="hierChild4" presStyleCnt="0"/>
      <dgm:spPr/>
    </dgm:pt>
    <dgm:pt modelId="{3739130E-2EFC-49E7-966D-DDDE3E7FBF1F}" type="pres">
      <dgm:prSet presAssocID="{C22C0127-C085-4EAB-BA71-84CF6FE8E1C6}" presName="hierChild5" presStyleCnt="0"/>
      <dgm:spPr/>
    </dgm:pt>
    <dgm:pt modelId="{AA6D9927-105B-4550-AB57-6ACED35F0539}" type="pres">
      <dgm:prSet presAssocID="{F56EE1ED-A2DC-4D4F-87A3-5EE30A57AB9A}" presName="Name37" presStyleLbl="parChTrans1D2" presStyleIdx="2" presStyleCnt="7"/>
      <dgm:spPr/>
      <dgm:t>
        <a:bodyPr/>
        <a:lstStyle/>
        <a:p>
          <a:endParaRPr lang="en-US"/>
        </a:p>
      </dgm:t>
    </dgm:pt>
    <dgm:pt modelId="{1C0EEB57-B9EA-403D-A9C7-CD9781A9A764}" type="pres">
      <dgm:prSet presAssocID="{09AFF02B-E683-4F92-BDA7-7BD0AC4C64FF}" presName="hierRoot2" presStyleCnt="0">
        <dgm:presLayoutVars>
          <dgm:hierBranch val="init"/>
        </dgm:presLayoutVars>
      </dgm:prSet>
      <dgm:spPr/>
    </dgm:pt>
    <dgm:pt modelId="{0AA9C0D7-A6BA-4460-99EE-7A08343515EE}" type="pres">
      <dgm:prSet presAssocID="{09AFF02B-E683-4F92-BDA7-7BD0AC4C64FF}" presName="rootComposite" presStyleCnt="0"/>
      <dgm:spPr/>
    </dgm:pt>
    <dgm:pt modelId="{0E9FE36D-D70A-4493-9AF0-0183A3E068CE}" type="pres">
      <dgm:prSet presAssocID="{09AFF02B-E683-4F92-BDA7-7BD0AC4C64FF}" presName="rootText" presStyleLbl="node2" presStyleIdx="2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9A39BDC-D1E4-4273-80EB-FCFED504B6C2}" type="pres">
      <dgm:prSet presAssocID="{09AFF02B-E683-4F92-BDA7-7BD0AC4C64FF}" presName="rootConnector" presStyleLbl="node2" presStyleIdx="2" presStyleCnt="7"/>
      <dgm:spPr/>
      <dgm:t>
        <a:bodyPr/>
        <a:lstStyle/>
        <a:p>
          <a:endParaRPr lang="en-US"/>
        </a:p>
      </dgm:t>
    </dgm:pt>
    <dgm:pt modelId="{224FE3F3-1779-40DC-89C6-31660BCD4218}" type="pres">
      <dgm:prSet presAssocID="{09AFF02B-E683-4F92-BDA7-7BD0AC4C64FF}" presName="hierChild4" presStyleCnt="0"/>
      <dgm:spPr/>
    </dgm:pt>
    <dgm:pt modelId="{AA0CF89F-EE18-410E-A4C7-A99375F4FB58}" type="pres">
      <dgm:prSet presAssocID="{09AFF02B-E683-4F92-BDA7-7BD0AC4C64FF}" presName="hierChild5" presStyleCnt="0"/>
      <dgm:spPr/>
    </dgm:pt>
    <dgm:pt modelId="{3A0AAC12-3659-4B9A-8357-FE3E9D2818C3}" type="pres">
      <dgm:prSet presAssocID="{5EE5739B-38BE-46E1-A8CD-614D5E3A3989}" presName="Name37" presStyleLbl="parChTrans1D2" presStyleIdx="3" presStyleCnt="7"/>
      <dgm:spPr/>
      <dgm:t>
        <a:bodyPr/>
        <a:lstStyle/>
        <a:p>
          <a:endParaRPr lang="en-US"/>
        </a:p>
      </dgm:t>
    </dgm:pt>
    <dgm:pt modelId="{1AB2768A-A342-41FB-A393-D81F92350366}" type="pres">
      <dgm:prSet presAssocID="{0CD029D3-91CF-498E-91A4-2D6B4FE879A8}" presName="hierRoot2" presStyleCnt="0">
        <dgm:presLayoutVars>
          <dgm:hierBranch val="init"/>
        </dgm:presLayoutVars>
      </dgm:prSet>
      <dgm:spPr/>
    </dgm:pt>
    <dgm:pt modelId="{78F1EA42-4CDB-4376-8FF9-423CAA10C9C5}" type="pres">
      <dgm:prSet presAssocID="{0CD029D3-91CF-498E-91A4-2D6B4FE879A8}" presName="rootComposite" presStyleCnt="0"/>
      <dgm:spPr/>
    </dgm:pt>
    <dgm:pt modelId="{997DCFC3-DB93-48D2-A59C-2F1D93232EB0}" type="pres">
      <dgm:prSet presAssocID="{0CD029D3-91CF-498E-91A4-2D6B4FE879A8}" presName="rootText" presStyleLbl="node2" presStyleIdx="3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EF7FD64-6E45-4CA6-A11C-16F819256336}" type="pres">
      <dgm:prSet presAssocID="{0CD029D3-91CF-498E-91A4-2D6B4FE879A8}" presName="rootConnector" presStyleLbl="node2" presStyleIdx="3" presStyleCnt="7"/>
      <dgm:spPr/>
      <dgm:t>
        <a:bodyPr/>
        <a:lstStyle/>
        <a:p>
          <a:endParaRPr lang="en-US"/>
        </a:p>
      </dgm:t>
    </dgm:pt>
    <dgm:pt modelId="{11B57CFE-6315-411A-B360-66E22DD3C7C2}" type="pres">
      <dgm:prSet presAssocID="{0CD029D3-91CF-498E-91A4-2D6B4FE879A8}" presName="hierChild4" presStyleCnt="0"/>
      <dgm:spPr/>
    </dgm:pt>
    <dgm:pt modelId="{6A930902-2428-4596-8DF3-F74EBD187CFA}" type="pres">
      <dgm:prSet presAssocID="{0CD029D3-91CF-498E-91A4-2D6B4FE879A8}" presName="hierChild5" presStyleCnt="0"/>
      <dgm:spPr/>
    </dgm:pt>
    <dgm:pt modelId="{CFD832A2-E4D5-457F-B935-02726E40521A}" type="pres">
      <dgm:prSet presAssocID="{BB3EFC77-3600-4C74-BABF-0B2BFB858476}" presName="Name37" presStyleLbl="parChTrans1D2" presStyleIdx="4" presStyleCnt="7"/>
      <dgm:spPr/>
      <dgm:t>
        <a:bodyPr/>
        <a:lstStyle/>
        <a:p>
          <a:endParaRPr lang="en-US"/>
        </a:p>
      </dgm:t>
    </dgm:pt>
    <dgm:pt modelId="{48C0553A-21F7-4315-8932-2C6015FF7017}" type="pres">
      <dgm:prSet presAssocID="{60C9395B-6613-47A4-AB3D-AC56BCE2DF0E}" presName="hierRoot2" presStyleCnt="0">
        <dgm:presLayoutVars>
          <dgm:hierBranch val="init"/>
        </dgm:presLayoutVars>
      </dgm:prSet>
      <dgm:spPr/>
    </dgm:pt>
    <dgm:pt modelId="{CAFE5248-D2A3-4037-B189-3F251702A79F}" type="pres">
      <dgm:prSet presAssocID="{60C9395B-6613-47A4-AB3D-AC56BCE2DF0E}" presName="rootComposite" presStyleCnt="0"/>
      <dgm:spPr/>
    </dgm:pt>
    <dgm:pt modelId="{C7BB2087-3735-4F69-9B29-10673586CDA7}" type="pres">
      <dgm:prSet presAssocID="{60C9395B-6613-47A4-AB3D-AC56BCE2DF0E}" presName="rootText" presStyleLbl="node2" presStyleIdx="4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AE5AADB-39B2-4D5C-BEB3-3BBE42BDFF07}" type="pres">
      <dgm:prSet presAssocID="{60C9395B-6613-47A4-AB3D-AC56BCE2DF0E}" presName="rootConnector" presStyleLbl="node2" presStyleIdx="4" presStyleCnt="7"/>
      <dgm:spPr/>
      <dgm:t>
        <a:bodyPr/>
        <a:lstStyle/>
        <a:p>
          <a:endParaRPr lang="en-US"/>
        </a:p>
      </dgm:t>
    </dgm:pt>
    <dgm:pt modelId="{C36F9F59-56B5-4F98-8037-FB477CEAA5B7}" type="pres">
      <dgm:prSet presAssocID="{60C9395B-6613-47A4-AB3D-AC56BCE2DF0E}" presName="hierChild4" presStyleCnt="0"/>
      <dgm:spPr/>
    </dgm:pt>
    <dgm:pt modelId="{56B11A27-A847-4D26-BB3F-952A71EA2631}" type="pres">
      <dgm:prSet presAssocID="{60C9395B-6613-47A4-AB3D-AC56BCE2DF0E}" presName="hierChild5" presStyleCnt="0"/>
      <dgm:spPr/>
    </dgm:pt>
    <dgm:pt modelId="{727E9CBB-8045-41FA-9C81-1382118CBA9A}" type="pres">
      <dgm:prSet presAssocID="{EE2E2D29-FB7D-4F76-A308-02DF1BFF1800}" presName="Name37" presStyleLbl="parChTrans1D2" presStyleIdx="5" presStyleCnt="7"/>
      <dgm:spPr/>
      <dgm:t>
        <a:bodyPr/>
        <a:lstStyle/>
        <a:p>
          <a:endParaRPr lang="en-US"/>
        </a:p>
      </dgm:t>
    </dgm:pt>
    <dgm:pt modelId="{DE0E331D-56BB-4FFC-986E-8A6903D918D7}" type="pres">
      <dgm:prSet presAssocID="{AA19186D-761A-452B-9E25-197BC8A35BE1}" presName="hierRoot2" presStyleCnt="0">
        <dgm:presLayoutVars>
          <dgm:hierBranch val="init"/>
        </dgm:presLayoutVars>
      </dgm:prSet>
      <dgm:spPr/>
    </dgm:pt>
    <dgm:pt modelId="{8F031DEE-2E6F-467C-88F2-3153786EDBC9}" type="pres">
      <dgm:prSet presAssocID="{AA19186D-761A-452B-9E25-197BC8A35BE1}" presName="rootComposite" presStyleCnt="0"/>
      <dgm:spPr/>
    </dgm:pt>
    <dgm:pt modelId="{71D0D559-5294-4883-A210-5092F16D5019}" type="pres">
      <dgm:prSet presAssocID="{AA19186D-761A-452B-9E25-197BC8A35BE1}" presName="rootText" presStyleLbl="node2" presStyleIdx="5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BCA77A2C-3B5E-49E5-8AAD-249034D3B7E1}" type="pres">
      <dgm:prSet presAssocID="{AA19186D-761A-452B-9E25-197BC8A35BE1}" presName="rootConnector" presStyleLbl="node2" presStyleIdx="5" presStyleCnt="7"/>
      <dgm:spPr/>
      <dgm:t>
        <a:bodyPr/>
        <a:lstStyle/>
        <a:p>
          <a:endParaRPr lang="en-US"/>
        </a:p>
      </dgm:t>
    </dgm:pt>
    <dgm:pt modelId="{BCFF890E-164A-47F3-A452-6BDE44D9457E}" type="pres">
      <dgm:prSet presAssocID="{AA19186D-761A-452B-9E25-197BC8A35BE1}" presName="hierChild4" presStyleCnt="0"/>
      <dgm:spPr/>
    </dgm:pt>
    <dgm:pt modelId="{4CB7D90A-465A-4F1D-B1E3-C44D97FC9C78}" type="pres">
      <dgm:prSet presAssocID="{AA19186D-761A-452B-9E25-197BC8A35BE1}" presName="hierChild5" presStyleCnt="0"/>
      <dgm:spPr/>
    </dgm:pt>
    <dgm:pt modelId="{B64EC26A-C6AD-4729-ABA0-3ACBBA64707D}" type="pres">
      <dgm:prSet presAssocID="{396C3C0C-4AE1-4629-AC04-C31D35CE4B53}" presName="Name37" presStyleLbl="parChTrans1D2" presStyleIdx="6" presStyleCnt="7"/>
      <dgm:spPr/>
      <dgm:t>
        <a:bodyPr/>
        <a:lstStyle/>
        <a:p>
          <a:endParaRPr lang="en-US"/>
        </a:p>
      </dgm:t>
    </dgm:pt>
    <dgm:pt modelId="{8C83ECC9-DB83-4049-A02A-0DF9002DC49A}" type="pres">
      <dgm:prSet presAssocID="{E790BAEE-7805-449F-9DFB-03188C4AC003}" presName="hierRoot2" presStyleCnt="0">
        <dgm:presLayoutVars>
          <dgm:hierBranch val="init"/>
        </dgm:presLayoutVars>
      </dgm:prSet>
      <dgm:spPr/>
    </dgm:pt>
    <dgm:pt modelId="{9F49EC72-5943-44BB-91CF-FE311CCA5DA1}" type="pres">
      <dgm:prSet presAssocID="{E790BAEE-7805-449F-9DFB-03188C4AC003}" presName="rootComposite" presStyleCnt="0"/>
      <dgm:spPr/>
    </dgm:pt>
    <dgm:pt modelId="{031B9965-C421-4386-96E5-353AAA520555}" type="pres">
      <dgm:prSet presAssocID="{E790BAEE-7805-449F-9DFB-03188C4AC003}" presName="rootText" presStyleLbl="node2" presStyleIdx="6" presStyleCnt="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529D9EB-2981-4FE7-9911-1E5684EED559}" type="pres">
      <dgm:prSet presAssocID="{E790BAEE-7805-449F-9DFB-03188C4AC003}" presName="rootConnector" presStyleLbl="node2" presStyleIdx="6" presStyleCnt="7"/>
      <dgm:spPr/>
      <dgm:t>
        <a:bodyPr/>
        <a:lstStyle/>
        <a:p>
          <a:endParaRPr lang="en-US"/>
        </a:p>
      </dgm:t>
    </dgm:pt>
    <dgm:pt modelId="{E9D94639-E764-414C-AC0C-37B98CE901C3}" type="pres">
      <dgm:prSet presAssocID="{E790BAEE-7805-449F-9DFB-03188C4AC003}" presName="hierChild4" presStyleCnt="0"/>
      <dgm:spPr/>
    </dgm:pt>
    <dgm:pt modelId="{663BB093-6E73-4CBD-87B9-A1B64A8F5153}" type="pres">
      <dgm:prSet presAssocID="{E790BAEE-7805-449F-9DFB-03188C4AC003}" presName="hierChild5" presStyleCnt="0"/>
      <dgm:spPr/>
    </dgm:pt>
    <dgm:pt modelId="{C36B2C3E-81B8-47C5-A599-2BF5556D4FDC}" type="pres">
      <dgm:prSet presAssocID="{5C944BB5-FA95-4697-A30A-C26610522946}" presName="hierChild3" presStyleCnt="0"/>
      <dgm:spPr/>
    </dgm:pt>
  </dgm:ptLst>
  <dgm:cxnLst>
    <dgm:cxn modelId="{06BD7C03-4A1B-493F-99CD-51B84C6BFF50}" type="presOf" srcId="{5EE5739B-38BE-46E1-A8CD-614D5E3A3989}" destId="{3A0AAC12-3659-4B9A-8357-FE3E9D2818C3}" srcOrd="0" destOrd="0" presId="urn:microsoft.com/office/officeart/2005/8/layout/orgChart1"/>
    <dgm:cxn modelId="{0274280D-FBAD-496F-B345-6BC685308E99}" srcId="{5C944BB5-FA95-4697-A30A-C26610522946}" destId="{C22C0127-C085-4EAB-BA71-84CF6FE8E1C6}" srcOrd="1" destOrd="0" parTransId="{4370EB74-91B5-414E-9AE7-6FAF170203F4}" sibTransId="{8F3E5848-8614-42D3-8631-3C52CD9D7FE3}"/>
    <dgm:cxn modelId="{EC60430D-CF1F-4F7D-A05F-CE8B0F3689DC}" srcId="{5C944BB5-FA95-4697-A30A-C26610522946}" destId="{09AFF02B-E683-4F92-BDA7-7BD0AC4C64FF}" srcOrd="2" destOrd="0" parTransId="{F56EE1ED-A2DC-4D4F-87A3-5EE30A57AB9A}" sibTransId="{15B75840-A40B-475D-B26F-BD65328F96B0}"/>
    <dgm:cxn modelId="{309DC264-D7AE-4C44-8D2D-73D72EB01FAD}" type="presOf" srcId="{0CD029D3-91CF-498E-91A4-2D6B4FE879A8}" destId="{0EF7FD64-6E45-4CA6-A11C-16F819256336}" srcOrd="1" destOrd="0" presId="urn:microsoft.com/office/officeart/2005/8/layout/orgChart1"/>
    <dgm:cxn modelId="{AB5A329B-FFC2-4EF3-B07B-2B910E8BEB2D}" type="presOf" srcId="{BB3EFC77-3600-4C74-BABF-0B2BFB858476}" destId="{CFD832A2-E4D5-457F-B935-02726E40521A}" srcOrd="0" destOrd="0" presId="urn:microsoft.com/office/officeart/2005/8/layout/orgChart1"/>
    <dgm:cxn modelId="{FDE3D4AB-8583-4CF4-AA69-F2129BED539B}" type="presOf" srcId="{AF613442-0BD9-46ED-AC95-4CABA8D66911}" destId="{D39A5186-F9BD-4A93-885B-A22BBD1F10DC}" srcOrd="1" destOrd="0" presId="urn:microsoft.com/office/officeart/2005/8/layout/orgChart1"/>
    <dgm:cxn modelId="{09E3457B-A0A1-4DA6-8694-D6E8E7B6E415}" type="presOf" srcId="{CB72E05C-401E-41F9-A209-8AEF2D276BDC}" destId="{1F96F4D2-E63D-413D-9B31-0A5CC2425DFE}" srcOrd="0" destOrd="0" presId="urn:microsoft.com/office/officeart/2005/8/layout/orgChart1"/>
    <dgm:cxn modelId="{CFF5AEC9-AA99-4F1A-A5E6-82B6B8CC3C40}" type="presOf" srcId="{4370EB74-91B5-414E-9AE7-6FAF170203F4}" destId="{67768A83-836E-4026-A78B-38C831358306}" srcOrd="0" destOrd="0" presId="urn:microsoft.com/office/officeart/2005/8/layout/orgChart1"/>
    <dgm:cxn modelId="{54346851-FC7A-485C-9A43-2752B8D1B4FD}" type="presOf" srcId="{60C9395B-6613-47A4-AB3D-AC56BCE2DF0E}" destId="{C7BB2087-3735-4F69-9B29-10673586CDA7}" srcOrd="0" destOrd="0" presId="urn:microsoft.com/office/officeart/2005/8/layout/orgChart1"/>
    <dgm:cxn modelId="{4AF743B2-535C-4299-9E22-F6234779B371}" type="presOf" srcId="{AF613442-0BD9-46ED-AC95-4CABA8D66911}" destId="{FC9F55D5-578C-4FBE-80B2-894D2BA3D127}" srcOrd="0" destOrd="0" presId="urn:microsoft.com/office/officeart/2005/8/layout/orgChart1"/>
    <dgm:cxn modelId="{4558F725-92E6-4D0F-845D-C35EACF839BD}" type="presOf" srcId="{E790BAEE-7805-449F-9DFB-03188C4AC003}" destId="{0529D9EB-2981-4FE7-9911-1E5684EED559}" srcOrd="1" destOrd="0" presId="urn:microsoft.com/office/officeart/2005/8/layout/orgChart1"/>
    <dgm:cxn modelId="{C8C127E1-9691-4DAD-BE95-7E8AEF1D48D1}" srcId="{5C944BB5-FA95-4697-A30A-C26610522946}" destId="{60C9395B-6613-47A4-AB3D-AC56BCE2DF0E}" srcOrd="4" destOrd="0" parTransId="{BB3EFC77-3600-4C74-BABF-0B2BFB858476}" sibTransId="{3A0A5D31-7831-4504-B238-15DFE5BF9A15}"/>
    <dgm:cxn modelId="{882E31CF-3739-4FA1-A715-F28315305264}" srcId="{5C944BB5-FA95-4697-A30A-C26610522946}" destId="{AA19186D-761A-452B-9E25-197BC8A35BE1}" srcOrd="5" destOrd="0" parTransId="{EE2E2D29-FB7D-4F76-A308-02DF1BFF1800}" sibTransId="{CC728D5B-7927-4685-AD9D-DBA8610A040F}"/>
    <dgm:cxn modelId="{463037BE-8B45-46A0-9062-F5BA51CF5155}" type="presOf" srcId="{09AFF02B-E683-4F92-BDA7-7BD0AC4C64FF}" destId="{0E9FE36D-D70A-4493-9AF0-0183A3E068CE}" srcOrd="0" destOrd="0" presId="urn:microsoft.com/office/officeart/2005/8/layout/orgChart1"/>
    <dgm:cxn modelId="{82350087-5C73-4D45-945D-E09C454A7A88}" type="presOf" srcId="{EE2E2D29-FB7D-4F76-A308-02DF1BFF1800}" destId="{727E9CBB-8045-41FA-9C81-1382118CBA9A}" srcOrd="0" destOrd="0" presId="urn:microsoft.com/office/officeart/2005/8/layout/orgChart1"/>
    <dgm:cxn modelId="{902574BC-34E6-4EE7-B93C-25F2296B2CAB}" type="presOf" srcId="{5C944BB5-FA95-4697-A30A-C26610522946}" destId="{F5FB563E-E9E4-4C3D-AE62-0D07C13F7C21}" srcOrd="1" destOrd="0" presId="urn:microsoft.com/office/officeart/2005/8/layout/orgChart1"/>
    <dgm:cxn modelId="{CF8730CD-E319-4584-B578-2FF94A5FC820}" type="presOf" srcId="{C22C0127-C085-4EAB-BA71-84CF6FE8E1C6}" destId="{1D8D751D-E1B0-4B0E-B84D-9060579A4972}" srcOrd="0" destOrd="0" presId="urn:microsoft.com/office/officeart/2005/8/layout/orgChart1"/>
    <dgm:cxn modelId="{675FF844-7B14-4B5A-9C42-FCF18BA10B2A}" srcId="{5C944BB5-FA95-4697-A30A-C26610522946}" destId="{0CD029D3-91CF-498E-91A4-2D6B4FE879A8}" srcOrd="3" destOrd="0" parTransId="{5EE5739B-38BE-46E1-A8CD-614D5E3A3989}" sibTransId="{AF16EB81-4CCB-4EB1-BAE8-44CEFCA51191}"/>
    <dgm:cxn modelId="{B88CEF6D-7904-4D20-9BA3-F7E9F66F0B35}" srcId="{CB72E05C-401E-41F9-A209-8AEF2D276BDC}" destId="{5C944BB5-FA95-4697-A30A-C26610522946}" srcOrd="0" destOrd="0" parTransId="{5C50D0F1-0737-4E68-B031-FE25E25E2365}" sibTransId="{207F906C-1E0C-45A1-A837-1E3CFB4E7FEB}"/>
    <dgm:cxn modelId="{0E4491C4-23E7-45A3-8B6B-47617224FFE1}" srcId="{5C944BB5-FA95-4697-A30A-C26610522946}" destId="{E790BAEE-7805-449F-9DFB-03188C4AC003}" srcOrd="6" destOrd="0" parTransId="{396C3C0C-4AE1-4629-AC04-C31D35CE4B53}" sibTransId="{8FBBA0A6-C35B-44EE-9CF8-43FBA9A60BD4}"/>
    <dgm:cxn modelId="{5FC63676-E324-466F-AD91-9F78F126FF1D}" type="presOf" srcId="{60C9395B-6613-47A4-AB3D-AC56BCE2DF0E}" destId="{DAE5AADB-39B2-4D5C-BEB3-3BBE42BDFF07}" srcOrd="1" destOrd="0" presId="urn:microsoft.com/office/officeart/2005/8/layout/orgChart1"/>
    <dgm:cxn modelId="{69FD3472-B5F2-48C0-A1A1-7D9E2033B26F}" type="presOf" srcId="{09AFF02B-E683-4F92-BDA7-7BD0AC4C64FF}" destId="{99A39BDC-D1E4-4273-80EB-FCFED504B6C2}" srcOrd="1" destOrd="0" presId="urn:microsoft.com/office/officeart/2005/8/layout/orgChart1"/>
    <dgm:cxn modelId="{FF16FCE7-31D9-48FA-9CC2-A0E492D0B95D}" type="presOf" srcId="{5C944BB5-FA95-4697-A30A-C26610522946}" destId="{0F03B506-DF7D-4EDC-9CBB-838910818EB2}" srcOrd="0" destOrd="0" presId="urn:microsoft.com/office/officeart/2005/8/layout/orgChart1"/>
    <dgm:cxn modelId="{D1273AD8-AF19-426A-9141-80270B1B0C90}" type="presOf" srcId="{0CD029D3-91CF-498E-91A4-2D6B4FE879A8}" destId="{997DCFC3-DB93-48D2-A59C-2F1D93232EB0}" srcOrd="0" destOrd="0" presId="urn:microsoft.com/office/officeart/2005/8/layout/orgChart1"/>
    <dgm:cxn modelId="{98770031-5F46-4740-927C-7A74E76C5940}" type="presOf" srcId="{F56EE1ED-A2DC-4D4F-87A3-5EE30A57AB9A}" destId="{AA6D9927-105B-4550-AB57-6ACED35F0539}" srcOrd="0" destOrd="0" presId="urn:microsoft.com/office/officeart/2005/8/layout/orgChart1"/>
    <dgm:cxn modelId="{AFE63EBA-D4F3-410C-8137-323BDF5A6044}" type="presOf" srcId="{A73902B5-6A97-4F4C-AE5B-385720AB3F42}" destId="{D2703CDA-D3D5-4CBB-9076-173417D9B457}" srcOrd="0" destOrd="0" presId="urn:microsoft.com/office/officeart/2005/8/layout/orgChart1"/>
    <dgm:cxn modelId="{3B1D107E-FD1E-412A-ADAA-32B71B34D582}" type="presOf" srcId="{C22C0127-C085-4EAB-BA71-84CF6FE8E1C6}" destId="{CC3BDF5A-5596-4A0A-ADE5-218C5F00E5EC}" srcOrd="1" destOrd="0" presId="urn:microsoft.com/office/officeart/2005/8/layout/orgChart1"/>
    <dgm:cxn modelId="{666ED8B6-0C18-472A-B673-F7F299BA6E30}" type="presOf" srcId="{AA19186D-761A-452B-9E25-197BC8A35BE1}" destId="{BCA77A2C-3B5E-49E5-8AAD-249034D3B7E1}" srcOrd="1" destOrd="0" presId="urn:microsoft.com/office/officeart/2005/8/layout/orgChart1"/>
    <dgm:cxn modelId="{7BB7045A-CAA9-4DAA-9190-204F37DF5427}" srcId="{5C944BB5-FA95-4697-A30A-C26610522946}" destId="{AF613442-0BD9-46ED-AC95-4CABA8D66911}" srcOrd="0" destOrd="0" parTransId="{A73902B5-6A97-4F4C-AE5B-385720AB3F42}" sibTransId="{568F1DD1-988D-4988-808B-986AC02DD15C}"/>
    <dgm:cxn modelId="{F852AEC1-F61B-45E5-98F5-7786E6942464}" type="presOf" srcId="{AA19186D-761A-452B-9E25-197BC8A35BE1}" destId="{71D0D559-5294-4883-A210-5092F16D5019}" srcOrd="0" destOrd="0" presId="urn:microsoft.com/office/officeart/2005/8/layout/orgChart1"/>
    <dgm:cxn modelId="{7D112A59-2C1D-4A49-A391-22C0B1385C9E}" type="presOf" srcId="{E790BAEE-7805-449F-9DFB-03188C4AC003}" destId="{031B9965-C421-4386-96E5-353AAA520555}" srcOrd="0" destOrd="0" presId="urn:microsoft.com/office/officeart/2005/8/layout/orgChart1"/>
    <dgm:cxn modelId="{C2DC4658-4351-488A-B2F0-267FD04509D7}" type="presOf" srcId="{396C3C0C-4AE1-4629-AC04-C31D35CE4B53}" destId="{B64EC26A-C6AD-4729-ABA0-3ACBBA64707D}" srcOrd="0" destOrd="0" presId="urn:microsoft.com/office/officeart/2005/8/layout/orgChart1"/>
    <dgm:cxn modelId="{1D81BCBA-195B-46B8-9A8E-264C0A188B98}" type="presParOf" srcId="{1F96F4D2-E63D-413D-9B31-0A5CC2425DFE}" destId="{0E149003-7EA8-4C52-841A-FEC5931354D5}" srcOrd="0" destOrd="0" presId="urn:microsoft.com/office/officeart/2005/8/layout/orgChart1"/>
    <dgm:cxn modelId="{1D5B2A49-3E23-49AA-AEDD-13F734B0593B}" type="presParOf" srcId="{0E149003-7EA8-4C52-841A-FEC5931354D5}" destId="{030BADCD-2172-4B9E-AAC6-97BF6ECCB8A7}" srcOrd="0" destOrd="0" presId="urn:microsoft.com/office/officeart/2005/8/layout/orgChart1"/>
    <dgm:cxn modelId="{C1425E63-4356-46F0-ADDB-AAFE39573763}" type="presParOf" srcId="{030BADCD-2172-4B9E-AAC6-97BF6ECCB8A7}" destId="{0F03B506-DF7D-4EDC-9CBB-838910818EB2}" srcOrd="0" destOrd="0" presId="urn:microsoft.com/office/officeart/2005/8/layout/orgChart1"/>
    <dgm:cxn modelId="{BB93ACB2-B2E0-4043-873F-36AA7A864B28}" type="presParOf" srcId="{030BADCD-2172-4B9E-AAC6-97BF6ECCB8A7}" destId="{F5FB563E-E9E4-4C3D-AE62-0D07C13F7C21}" srcOrd="1" destOrd="0" presId="urn:microsoft.com/office/officeart/2005/8/layout/orgChart1"/>
    <dgm:cxn modelId="{B42CD8BF-BFEE-4C08-8A9E-051FF8B3869C}" type="presParOf" srcId="{0E149003-7EA8-4C52-841A-FEC5931354D5}" destId="{DD82F826-9986-417E-BE47-549EB1B5DEB4}" srcOrd="1" destOrd="0" presId="urn:microsoft.com/office/officeart/2005/8/layout/orgChart1"/>
    <dgm:cxn modelId="{3E97013B-BBC8-49CD-8E8F-F914D6399A95}" type="presParOf" srcId="{DD82F826-9986-417E-BE47-549EB1B5DEB4}" destId="{D2703CDA-D3D5-4CBB-9076-173417D9B457}" srcOrd="0" destOrd="0" presId="urn:microsoft.com/office/officeart/2005/8/layout/orgChart1"/>
    <dgm:cxn modelId="{C7CF20ED-BDC9-473F-BC3D-C7C83D52205C}" type="presParOf" srcId="{DD82F826-9986-417E-BE47-549EB1B5DEB4}" destId="{A406CB97-A64D-4F66-B04B-FB2753FB1EB7}" srcOrd="1" destOrd="0" presId="urn:microsoft.com/office/officeart/2005/8/layout/orgChart1"/>
    <dgm:cxn modelId="{58064669-D9A8-4247-A3B6-EA325FBCB874}" type="presParOf" srcId="{A406CB97-A64D-4F66-B04B-FB2753FB1EB7}" destId="{71D62B99-B763-42C3-B119-EDE933D2DFA9}" srcOrd="0" destOrd="0" presId="urn:microsoft.com/office/officeart/2005/8/layout/orgChart1"/>
    <dgm:cxn modelId="{002DA475-2D83-45FF-B075-03BDBBCEEF6C}" type="presParOf" srcId="{71D62B99-B763-42C3-B119-EDE933D2DFA9}" destId="{FC9F55D5-578C-4FBE-80B2-894D2BA3D127}" srcOrd="0" destOrd="0" presId="urn:microsoft.com/office/officeart/2005/8/layout/orgChart1"/>
    <dgm:cxn modelId="{887352FB-EF34-4586-B6A7-6E2DD70E51BF}" type="presParOf" srcId="{71D62B99-B763-42C3-B119-EDE933D2DFA9}" destId="{D39A5186-F9BD-4A93-885B-A22BBD1F10DC}" srcOrd="1" destOrd="0" presId="urn:microsoft.com/office/officeart/2005/8/layout/orgChart1"/>
    <dgm:cxn modelId="{009EA9C0-4C99-4D3A-B4E2-69F11FC611E9}" type="presParOf" srcId="{A406CB97-A64D-4F66-B04B-FB2753FB1EB7}" destId="{27A132DD-F13D-479A-81CD-52B1783F694A}" srcOrd="1" destOrd="0" presId="urn:microsoft.com/office/officeart/2005/8/layout/orgChart1"/>
    <dgm:cxn modelId="{2E2C2BF2-F6A4-4D38-878C-65A2AF7E4386}" type="presParOf" srcId="{A406CB97-A64D-4F66-B04B-FB2753FB1EB7}" destId="{C8998C84-44B1-416B-9E0B-E30B0491406F}" srcOrd="2" destOrd="0" presId="urn:microsoft.com/office/officeart/2005/8/layout/orgChart1"/>
    <dgm:cxn modelId="{6F2E4EE1-DF40-4881-864A-29631743A4B0}" type="presParOf" srcId="{DD82F826-9986-417E-BE47-549EB1B5DEB4}" destId="{67768A83-836E-4026-A78B-38C831358306}" srcOrd="2" destOrd="0" presId="urn:microsoft.com/office/officeart/2005/8/layout/orgChart1"/>
    <dgm:cxn modelId="{DC7405AA-C0DD-4D79-86B7-8C8CFF3D53D3}" type="presParOf" srcId="{DD82F826-9986-417E-BE47-549EB1B5DEB4}" destId="{39587C31-21E9-4939-A6D4-74CBC388F1A2}" srcOrd="3" destOrd="0" presId="urn:microsoft.com/office/officeart/2005/8/layout/orgChart1"/>
    <dgm:cxn modelId="{6282D218-2170-4CF0-857C-6B8C6B75780B}" type="presParOf" srcId="{39587C31-21E9-4939-A6D4-74CBC388F1A2}" destId="{87441A9E-3A5B-4F5F-8AB0-DD2AF7A04610}" srcOrd="0" destOrd="0" presId="urn:microsoft.com/office/officeart/2005/8/layout/orgChart1"/>
    <dgm:cxn modelId="{ED847C98-8080-4F20-BC81-BB415DACEAFB}" type="presParOf" srcId="{87441A9E-3A5B-4F5F-8AB0-DD2AF7A04610}" destId="{1D8D751D-E1B0-4B0E-B84D-9060579A4972}" srcOrd="0" destOrd="0" presId="urn:microsoft.com/office/officeart/2005/8/layout/orgChart1"/>
    <dgm:cxn modelId="{7AD41998-0DF6-42C4-8DBB-524C9242FA93}" type="presParOf" srcId="{87441A9E-3A5B-4F5F-8AB0-DD2AF7A04610}" destId="{CC3BDF5A-5596-4A0A-ADE5-218C5F00E5EC}" srcOrd="1" destOrd="0" presId="urn:microsoft.com/office/officeart/2005/8/layout/orgChart1"/>
    <dgm:cxn modelId="{0D5F5EC8-C711-4129-9B9F-A55A97B99718}" type="presParOf" srcId="{39587C31-21E9-4939-A6D4-74CBC388F1A2}" destId="{602B5677-FA87-42F1-BDAC-B789699D6E8D}" srcOrd="1" destOrd="0" presId="urn:microsoft.com/office/officeart/2005/8/layout/orgChart1"/>
    <dgm:cxn modelId="{878DDD89-3425-4370-AA7B-DB781E109A7C}" type="presParOf" srcId="{39587C31-21E9-4939-A6D4-74CBC388F1A2}" destId="{3739130E-2EFC-49E7-966D-DDDE3E7FBF1F}" srcOrd="2" destOrd="0" presId="urn:microsoft.com/office/officeart/2005/8/layout/orgChart1"/>
    <dgm:cxn modelId="{179BB91F-F2CE-4F5E-8345-92C18EEECA9D}" type="presParOf" srcId="{DD82F826-9986-417E-BE47-549EB1B5DEB4}" destId="{AA6D9927-105B-4550-AB57-6ACED35F0539}" srcOrd="4" destOrd="0" presId="urn:microsoft.com/office/officeart/2005/8/layout/orgChart1"/>
    <dgm:cxn modelId="{3F00D963-49EE-4E8C-A1AC-810DE4268D50}" type="presParOf" srcId="{DD82F826-9986-417E-BE47-549EB1B5DEB4}" destId="{1C0EEB57-B9EA-403D-A9C7-CD9781A9A764}" srcOrd="5" destOrd="0" presId="urn:microsoft.com/office/officeart/2005/8/layout/orgChart1"/>
    <dgm:cxn modelId="{0365E1D3-F3E2-4D3E-AF00-CE51A019DB46}" type="presParOf" srcId="{1C0EEB57-B9EA-403D-A9C7-CD9781A9A764}" destId="{0AA9C0D7-A6BA-4460-99EE-7A08343515EE}" srcOrd="0" destOrd="0" presId="urn:microsoft.com/office/officeart/2005/8/layout/orgChart1"/>
    <dgm:cxn modelId="{A5C2AAD9-660E-453C-95E7-11D726D85770}" type="presParOf" srcId="{0AA9C0D7-A6BA-4460-99EE-7A08343515EE}" destId="{0E9FE36D-D70A-4493-9AF0-0183A3E068CE}" srcOrd="0" destOrd="0" presId="urn:microsoft.com/office/officeart/2005/8/layout/orgChart1"/>
    <dgm:cxn modelId="{7A09B133-5D21-4F78-83DA-D189E07C810C}" type="presParOf" srcId="{0AA9C0D7-A6BA-4460-99EE-7A08343515EE}" destId="{99A39BDC-D1E4-4273-80EB-FCFED504B6C2}" srcOrd="1" destOrd="0" presId="urn:microsoft.com/office/officeart/2005/8/layout/orgChart1"/>
    <dgm:cxn modelId="{E9C213A5-E2D6-4379-A0E3-F44163AF67A5}" type="presParOf" srcId="{1C0EEB57-B9EA-403D-A9C7-CD9781A9A764}" destId="{224FE3F3-1779-40DC-89C6-31660BCD4218}" srcOrd="1" destOrd="0" presId="urn:microsoft.com/office/officeart/2005/8/layout/orgChart1"/>
    <dgm:cxn modelId="{07E52B09-6725-406A-9749-F6A0ABE75BD9}" type="presParOf" srcId="{1C0EEB57-B9EA-403D-A9C7-CD9781A9A764}" destId="{AA0CF89F-EE18-410E-A4C7-A99375F4FB58}" srcOrd="2" destOrd="0" presId="urn:microsoft.com/office/officeart/2005/8/layout/orgChart1"/>
    <dgm:cxn modelId="{7C297759-5ADB-43A1-845E-9AB21844EB4A}" type="presParOf" srcId="{DD82F826-9986-417E-BE47-549EB1B5DEB4}" destId="{3A0AAC12-3659-4B9A-8357-FE3E9D2818C3}" srcOrd="6" destOrd="0" presId="urn:microsoft.com/office/officeart/2005/8/layout/orgChart1"/>
    <dgm:cxn modelId="{AB88EA23-D81B-4F2C-94E9-7A9FB64BC62B}" type="presParOf" srcId="{DD82F826-9986-417E-BE47-549EB1B5DEB4}" destId="{1AB2768A-A342-41FB-A393-D81F92350366}" srcOrd="7" destOrd="0" presId="urn:microsoft.com/office/officeart/2005/8/layout/orgChart1"/>
    <dgm:cxn modelId="{CBFBFF67-7084-4A63-9B48-F1056568B3F8}" type="presParOf" srcId="{1AB2768A-A342-41FB-A393-D81F92350366}" destId="{78F1EA42-4CDB-4376-8FF9-423CAA10C9C5}" srcOrd="0" destOrd="0" presId="urn:microsoft.com/office/officeart/2005/8/layout/orgChart1"/>
    <dgm:cxn modelId="{26D83F6F-5EAB-4823-9F28-D7F5F22697DE}" type="presParOf" srcId="{78F1EA42-4CDB-4376-8FF9-423CAA10C9C5}" destId="{997DCFC3-DB93-48D2-A59C-2F1D93232EB0}" srcOrd="0" destOrd="0" presId="urn:microsoft.com/office/officeart/2005/8/layout/orgChart1"/>
    <dgm:cxn modelId="{61B2DBCB-7216-4823-9108-61EA91707393}" type="presParOf" srcId="{78F1EA42-4CDB-4376-8FF9-423CAA10C9C5}" destId="{0EF7FD64-6E45-4CA6-A11C-16F819256336}" srcOrd="1" destOrd="0" presId="urn:microsoft.com/office/officeart/2005/8/layout/orgChart1"/>
    <dgm:cxn modelId="{00DF06A5-CF42-491B-A836-A5F8034632BF}" type="presParOf" srcId="{1AB2768A-A342-41FB-A393-D81F92350366}" destId="{11B57CFE-6315-411A-B360-66E22DD3C7C2}" srcOrd="1" destOrd="0" presId="urn:microsoft.com/office/officeart/2005/8/layout/orgChart1"/>
    <dgm:cxn modelId="{A2DC4E61-7BC4-4BDD-948D-9B70CDEC60CF}" type="presParOf" srcId="{1AB2768A-A342-41FB-A393-D81F92350366}" destId="{6A930902-2428-4596-8DF3-F74EBD187CFA}" srcOrd="2" destOrd="0" presId="urn:microsoft.com/office/officeart/2005/8/layout/orgChart1"/>
    <dgm:cxn modelId="{E1AD0A1C-98ED-4ADC-8DC9-E642E9B8A3F3}" type="presParOf" srcId="{DD82F826-9986-417E-BE47-549EB1B5DEB4}" destId="{CFD832A2-E4D5-457F-B935-02726E40521A}" srcOrd="8" destOrd="0" presId="urn:microsoft.com/office/officeart/2005/8/layout/orgChart1"/>
    <dgm:cxn modelId="{B8C08606-6297-4141-9850-D9D07B32D1F2}" type="presParOf" srcId="{DD82F826-9986-417E-BE47-549EB1B5DEB4}" destId="{48C0553A-21F7-4315-8932-2C6015FF7017}" srcOrd="9" destOrd="0" presId="urn:microsoft.com/office/officeart/2005/8/layout/orgChart1"/>
    <dgm:cxn modelId="{40F49E6F-F9FD-43E6-9866-58FB1384158F}" type="presParOf" srcId="{48C0553A-21F7-4315-8932-2C6015FF7017}" destId="{CAFE5248-D2A3-4037-B189-3F251702A79F}" srcOrd="0" destOrd="0" presId="urn:microsoft.com/office/officeart/2005/8/layout/orgChart1"/>
    <dgm:cxn modelId="{94974BD7-F3C2-4BDA-9C52-70B41B80E068}" type="presParOf" srcId="{CAFE5248-D2A3-4037-B189-3F251702A79F}" destId="{C7BB2087-3735-4F69-9B29-10673586CDA7}" srcOrd="0" destOrd="0" presId="urn:microsoft.com/office/officeart/2005/8/layout/orgChart1"/>
    <dgm:cxn modelId="{4E5EACAA-9F6F-48E9-845F-F94C3219A86F}" type="presParOf" srcId="{CAFE5248-D2A3-4037-B189-3F251702A79F}" destId="{DAE5AADB-39B2-4D5C-BEB3-3BBE42BDFF07}" srcOrd="1" destOrd="0" presId="urn:microsoft.com/office/officeart/2005/8/layout/orgChart1"/>
    <dgm:cxn modelId="{00D39F0E-60C6-45EA-8CF1-7B1AE73AF274}" type="presParOf" srcId="{48C0553A-21F7-4315-8932-2C6015FF7017}" destId="{C36F9F59-56B5-4F98-8037-FB477CEAA5B7}" srcOrd="1" destOrd="0" presId="urn:microsoft.com/office/officeart/2005/8/layout/orgChart1"/>
    <dgm:cxn modelId="{4CE76CB3-0142-4754-8583-343584751180}" type="presParOf" srcId="{48C0553A-21F7-4315-8932-2C6015FF7017}" destId="{56B11A27-A847-4D26-BB3F-952A71EA2631}" srcOrd="2" destOrd="0" presId="urn:microsoft.com/office/officeart/2005/8/layout/orgChart1"/>
    <dgm:cxn modelId="{B222F3ED-D3EA-49DB-9574-771E4EFA0A9C}" type="presParOf" srcId="{DD82F826-9986-417E-BE47-549EB1B5DEB4}" destId="{727E9CBB-8045-41FA-9C81-1382118CBA9A}" srcOrd="10" destOrd="0" presId="urn:microsoft.com/office/officeart/2005/8/layout/orgChart1"/>
    <dgm:cxn modelId="{3213CBDC-F2F9-4A05-BA7F-D41F317F0BD6}" type="presParOf" srcId="{DD82F826-9986-417E-BE47-549EB1B5DEB4}" destId="{DE0E331D-56BB-4FFC-986E-8A6903D918D7}" srcOrd="11" destOrd="0" presId="urn:microsoft.com/office/officeart/2005/8/layout/orgChart1"/>
    <dgm:cxn modelId="{A2ED9CCA-A97A-41E6-BAEA-741DA7123EFC}" type="presParOf" srcId="{DE0E331D-56BB-4FFC-986E-8A6903D918D7}" destId="{8F031DEE-2E6F-467C-88F2-3153786EDBC9}" srcOrd="0" destOrd="0" presId="urn:microsoft.com/office/officeart/2005/8/layout/orgChart1"/>
    <dgm:cxn modelId="{C352FBC7-24F4-43F1-97B3-36CC50993857}" type="presParOf" srcId="{8F031DEE-2E6F-467C-88F2-3153786EDBC9}" destId="{71D0D559-5294-4883-A210-5092F16D5019}" srcOrd="0" destOrd="0" presId="urn:microsoft.com/office/officeart/2005/8/layout/orgChart1"/>
    <dgm:cxn modelId="{08F1554F-1717-4038-968D-678568EFF154}" type="presParOf" srcId="{8F031DEE-2E6F-467C-88F2-3153786EDBC9}" destId="{BCA77A2C-3B5E-49E5-8AAD-249034D3B7E1}" srcOrd="1" destOrd="0" presId="urn:microsoft.com/office/officeart/2005/8/layout/orgChart1"/>
    <dgm:cxn modelId="{68955240-F20C-48E6-B42A-1E86586ADA4A}" type="presParOf" srcId="{DE0E331D-56BB-4FFC-986E-8A6903D918D7}" destId="{BCFF890E-164A-47F3-A452-6BDE44D9457E}" srcOrd="1" destOrd="0" presId="urn:microsoft.com/office/officeart/2005/8/layout/orgChart1"/>
    <dgm:cxn modelId="{ACD739A2-22F0-47F9-BD87-C243F4579A4B}" type="presParOf" srcId="{DE0E331D-56BB-4FFC-986E-8A6903D918D7}" destId="{4CB7D90A-465A-4F1D-B1E3-C44D97FC9C78}" srcOrd="2" destOrd="0" presId="urn:microsoft.com/office/officeart/2005/8/layout/orgChart1"/>
    <dgm:cxn modelId="{F6AC2CC5-B3E3-4B35-A123-64D26D4F175C}" type="presParOf" srcId="{DD82F826-9986-417E-BE47-549EB1B5DEB4}" destId="{B64EC26A-C6AD-4729-ABA0-3ACBBA64707D}" srcOrd="12" destOrd="0" presId="urn:microsoft.com/office/officeart/2005/8/layout/orgChart1"/>
    <dgm:cxn modelId="{DCCD94E2-D2A6-4EEE-A090-46EFF12B6B35}" type="presParOf" srcId="{DD82F826-9986-417E-BE47-549EB1B5DEB4}" destId="{8C83ECC9-DB83-4049-A02A-0DF9002DC49A}" srcOrd="13" destOrd="0" presId="urn:microsoft.com/office/officeart/2005/8/layout/orgChart1"/>
    <dgm:cxn modelId="{7CD476DE-68CB-4B12-BB8F-D47253F0FF7A}" type="presParOf" srcId="{8C83ECC9-DB83-4049-A02A-0DF9002DC49A}" destId="{9F49EC72-5943-44BB-91CF-FE311CCA5DA1}" srcOrd="0" destOrd="0" presId="urn:microsoft.com/office/officeart/2005/8/layout/orgChart1"/>
    <dgm:cxn modelId="{7B65F04B-74DD-4327-9C19-7591F2C79E17}" type="presParOf" srcId="{9F49EC72-5943-44BB-91CF-FE311CCA5DA1}" destId="{031B9965-C421-4386-96E5-353AAA520555}" srcOrd="0" destOrd="0" presId="urn:microsoft.com/office/officeart/2005/8/layout/orgChart1"/>
    <dgm:cxn modelId="{319D8E63-7381-4205-8AA9-9484C2AAF5B0}" type="presParOf" srcId="{9F49EC72-5943-44BB-91CF-FE311CCA5DA1}" destId="{0529D9EB-2981-4FE7-9911-1E5684EED559}" srcOrd="1" destOrd="0" presId="urn:microsoft.com/office/officeart/2005/8/layout/orgChart1"/>
    <dgm:cxn modelId="{CE45D5EC-29C7-4117-A3AA-91C345F48C6B}" type="presParOf" srcId="{8C83ECC9-DB83-4049-A02A-0DF9002DC49A}" destId="{E9D94639-E764-414C-AC0C-37B98CE901C3}" srcOrd="1" destOrd="0" presId="urn:microsoft.com/office/officeart/2005/8/layout/orgChart1"/>
    <dgm:cxn modelId="{1982F2C8-054C-43D2-AD8E-F4EC8BFF3F5D}" type="presParOf" srcId="{8C83ECC9-DB83-4049-A02A-0DF9002DC49A}" destId="{663BB093-6E73-4CBD-87B9-A1B64A8F5153}" srcOrd="2" destOrd="0" presId="urn:microsoft.com/office/officeart/2005/8/layout/orgChart1"/>
    <dgm:cxn modelId="{C5D4F29A-B439-46B6-856E-325D28DD0FF5}" type="presParOf" srcId="{0E149003-7EA8-4C52-841A-FEC5931354D5}" destId="{C36B2C3E-81B8-47C5-A599-2BF5556D4FD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B72E05C-401E-41F9-A209-8AEF2D276BD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C944BB5-FA95-4697-A30A-C26610522946}">
      <dgm:prSet phldrT="[Text]"/>
      <dgm:spPr/>
      <dgm:t>
        <a:bodyPr/>
        <a:lstStyle/>
        <a:p>
          <a:r>
            <a:rPr lang="en-US" dirty="0" smtClean="0"/>
            <a:t>Vehicle</a:t>
          </a:r>
          <a:endParaRPr lang="en-US" dirty="0"/>
        </a:p>
      </dgm:t>
    </dgm:pt>
    <dgm:pt modelId="{5C50D0F1-0737-4E68-B031-FE25E25E2365}" type="parTrans" cxnId="{B88CEF6D-7904-4D20-9BA3-F7E9F66F0B35}">
      <dgm:prSet/>
      <dgm:spPr/>
      <dgm:t>
        <a:bodyPr/>
        <a:lstStyle/>
        <a:p>
          <a:endParaRPr lang="en-US"/>
        </a:p>
      </dgm:t>
    </dgm:pt>
    <dgm:pt modelId="{207F906C-1E0C-45A1-A837-1E3CFB4E7FEB}" type="sibTrans" cxnId="{B88CEF6D-7904-4D20-9BA3-F7E9F66F0B35}">
      <dgm:prSet/>
      <dgm:spPr/>
      <dgm:t>
        <a:bodyPr/>
        <a:lstStyle/>
        <a:p>
          <a:endParaRPr lang="en-US"/>
        </a:p>
      </dgm:t>
    </dgm:pt>
    <dgm:pt modelId="{AF613442-0BD9-46ED-AC95-4CABA8D66911}">
      <dgm:prSet phldrT="[Text]"/>
      <dgm:spPr/>
      <dgm:t>
        <a:bodyPr/>
        <a:lstStyle/>
        <a:p>
          <a:r>
            <a:rPr lang="en-US" dirty="0" smtClean="0"/>
            <a:t>Body</a:t>
          </a:r>
          <a:endParaRPr lang="en-US" dirty="0"/>
        </a:p>
      </dgm:t>
    </dgm:pt>
    <dgm:pt modelId="{A73902B5-6A97-4F4C-AE5B-385720AB3F42}" type="parTrans" cxnId="{7BB7045A-CAA9-4DAA-9190-204F37DF5427}">
      <dgm:prSet/>
      <dgm:spPr/>
      <dgm:t>
        <a:bodyPr/>
        <a:lstStyle/>
        <a:p>
          <a:endParaRPr lang="en-US"/>
        </a:p>
      </dgm:t>
    </dgm:pt>
    <dgm:pt modelId="{568F1DD1-988D-4988-808B-986AC02DD15C}" type="sibTrans" cxnId="{7BB7045A-CAA9-4DAA-9190-204F37DF5427}">
      <dgm:prSet/>
      <dgm:spPr/>
      <dgm:t>
        <a:bodyPr/>
        <a:lstStyle/>
        <a:p>
          <a:endParaRPr lang="en-US"/>
        </a:p>
      </dgm:t>
    </dgm:pt>
    <dgm:pt modelId="{C22C0127-C085-4EAB-BA71-84CF6FE8E1C6}">
      <dgm:prSet phldrT="[Text]"/>
      <dgm:spPr/>
      <dgm:t>
        <a:bodyPr/>
        <a:lstStyle/>
        <a:p>
          <a:r>
            <a:rPr lang="en-US" dirty="0" smtClean="0"/>
            <a:t>ADAS</a:t>
          </a:r>
          <a:endParaRPr lang="en-US" dirty="0"/>
        </a:p>
      </dgm:t>
    </dgm:pt>
    <dgm:pt modelId="{4370EB74-91B5-414E-9AE7-6FAF170203F4}" type="parTrans" cxnId="{0274280D-FBAD-496F-B345-6BC685308E99}">
      <dgm:prSet/>
      <dgm:spPr/>
      <dgm:t>
        <a:bodyPr/>
        <a:lstStyle/>
        <a:p>
          <a:endParaRPr lang="en-US"/>
        </a:p>
      </dgm:t>
    </dgm:pt>
    <dgm:pt modelId="{8F3E5848-8614-42D3-8631-3C52CD9D7FE3}" type="sibTrans" cxnId="{0274280D-FBAD-496F-B345-6BC685308E99}">
      <dgm:prSet/>
      <dgm:spPr/>
      <dgm:t>
        <a:bodyPr/>
        <a:lstStyle/>
        <a:p>
          <a:endParaRPr lang="en-US"/>
        </a:p>
      </dgm:t>
    </dgm:pt>
    <dgm:pt modelId="{09AFF02B-E683-4F92-BDA7-7BD0AC4C64FF}">
      <dgm:prSet phldrT="[Text]"/>
      <dgm:spPr/>
      <dgm:t>
        <a:bodyPr/>
        <a:lstStyle/>
        <a:p>
          <a:r>
            <a:rPr lang="en-US" dirty="0" smtClean="0"/>
            <a:t>Cabin</a:t>
          </a:r>
          <a:endParaRPr lang="en-US" dirty="0"/>
        </a:p>
      </dgm:t>
    </dgm:pt>
    <dgm:pt modelId="{F56EE1ED-A2DC-4D4F-87A3-5EE30A57AB9A}" type="parTrans" cxnId="{EC60430D-CF1F-4F7D-A05F-CE8B0F3689DC}">
      <dgm:prSet/>
      <dgm:spPr/>
      <dgm:t>
        <a:bodyPr/>
        <a:lstStyle/>
        <a:p>
          <a:endParaRPr lang="en-US"/>
        </a:p>
      </dgm:t>
    </dgm:pt>
    <dgm:pt modelId="{15B75840-A40B-475D-B26F-BD65328F96B0}" type="sibTrans" cxnId="{EC60430D-CF1F-4F7D-A05F-CE8B0F3689DC}">
      <dgm:prSet/>
      <dgm:spPr/>
      <dgm:t>
        <a:bodyPr/>
        <a:lstStyle/>
        <a:p>
          <a:endParaRPr lang="en-US"/>
        </a:p>
      </dgm:t>
    </dgm:pt>
    <dgm:pt modelId="{0CD029D3-91CF-498E-91A4-2D6B4FE879A8}">
      <dgm:prSet phldrT="[Text]"/>
      <dgm:spPr/>
      <dgm:t>
        <a:bodyPr/>
        <a:lstStyle/>
        <a:p>
          <a:r>
            <a:rPr lang="en-US" dirty="0" smtClean="0"/>
            <a:t>Chassis</a:t>
          </a:r>
          <a:endParaRPr lang="en-US" dirty="0"/>
        </a:p>
      </dgm:t>
    </dgm:pt>
    <dgm:pt modelId="{5EE5739B-38BE-46E1-A8CD-614D5E3A3989}" type="parTrans" cxnId="{675FF844-7B14-4B5A-9C42-FCF18BA10B2A}">
      <dgm:prSet/>
      <dgm:spPr/>
      <dgm:t>
        <a:bodyPr/>
        <a:lstStyle/>
        <a:p>
          <a:endParaRPr lang="en-US"/>
        </a:p>
      </dgm:t>
    </dgm:pt>
    <dgm:pt modelId="{AF16EB81-4CCB-4EB1-BAE8-44CEFCA51191}" type="sibTrans" cxnId="{675FF844-7B14-4B5A-9C42-FCF18BA10B2A}">
      <dgm:prSet/>
      <dgm:spPr/>
      <dgm:t>
        <a:bodyPr/>
        <a:lstStyle/>
        <a:p>
          <a:endParaRPr lang="en-US"/>
        </a:p>
      </dgm:t>
    </dgm:pt>
    <dgm:pt modelId="{60C9395B-6613-47A4-AB3D-AC56BCE2DF0E}">
      <dgm:prSet phldrT="[Text]"/>
      <dgm:spPr/>
      <dgm:t>
        <a:bodyPr/>
        <a:lstStyle/>
        <a:p>
          <a:r>
            <a:rPr lang="en-US" dirty="0" smtClean="0"/>
            <a:t>Drivetrain</a:t>
          </a:r>
          <a:endParaRPr lang="en-US" dirty="0"/>
        </a:p>
      </dgm:t>
    </dgm:pt>
    <dgm:pt modelId="{BB3EFC77-3600-4C74-BABF-0B2BFB858476}" type="parTrans" cxnId="{C8C127E1-9691-4DAD-BE95-7E8AEF1D48D1}">
      <dgm:prSet/>
      <dgm:spPr/>
      <dgm:t>
        <a:bodyPr/>
        <a:lstStyle/>
        <a:p>
          <a:endParaRPr lang="en-US"/>
        </a:p>
      </dgm:t>
    </dgm:pt>
    <dgm:pt modelId="{3A0A5D31-7831-4504-B238-15DFE5BF9A15}" type="sibTrans" cxnId="{C8C127E1-9691-4DAD-BE95-7E8AEF1D48D1}">
      <dgm:prSet/>
      <dgm:spPr/>
      <dgm:t>
        <a:bodyPr/>
        <a:lstStyle/>
        <a:p>
          <a:endParaRPr lang="en-US"/>
        </a:p>
      </dgm:t>
    </dgm:pt>
    <dgm:pt modelId="{D6998857-D071-4115-AE10-2D210069842C}">
      <dgm:prSet phldrT="[Text]"/>
      <dgm:spPr/>
      <dgm:t>
        <a:bodyPr/>
        <a:lstStyle/>
        <a:p>
          <a:r>
            <a:rPr lang="en-US" dirty="0" smtClean="0"/>
            <a:t>OBD</a:t>
          </a:r>
          <a:endParaRPr lang="en-US" dirty="0"/>
        </a:p>
      </dgm:t>
    </dgm:pt>
    <dgm:pt modelId="{51875D85-7D3C-4483-964C-AA9B25AEFF85}" type="parTrans" cxnId="{5490C549-832D-45EA-8053-A26A223D8791}">
      <dgm:prSet/>
      <dgm:spPr/>
      <dgm:t>
        <a:bodyPr/>
        <a:lstStyle/>
        <a:p>
          <a:endParaRPr lang="en-US"/>
        </a:p>
      </dgm:t>
    </dgm:pt>
    <dgm:pt modelId="{B1456CCD-0242-46A1-BF99-32A23B8B2843}" type="sibTrans" cxnId="{5490C549-832D-45EA-8053-A26A223D8791}">
      <dgm:prSet/>
      <dgm:spPr/>
      <dgm:t>
        <a:bodyPr/>
        <a:lstStyle/>
        <a:p>
          <a:endParaRPr lang="en-US"/>
        </a:p>
      </dgm:t>
    </dgm:pt>
    <dgm:pt modelId="{1F96F4D2-E63D-413D-9B31-0A5CC2425DFE}" type="pres">
      <dgm:prSet presAssocID="{CB72E05C-401E-41F9-A209-8AEF2D276BD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E149003-7EA8-4C52-841A-FEC5931354D5}" type="pres">
      <dgm:prSet presAssocID="{5C944BB5-FA95-4697-A30A-C26610522946}" presName="hierRoot1" presStyleCnt="0">
        <dgm:presLayoutVars>
          <dgm:hierBranch val="init"/>
        </dgm:presLayoutVars>
      </dgm:prSet>
      <dgm:spPr/>
    </dgm:pt>
    <dgm:pt modelId="{030BADCD-2172-4B9E-AAC6-97BF6ECCB8A7}" type="pres">
      <dgm:prSet presAssocID="{5C944BB5-FA95-4697-A30A-C26610522946}" presName="rootComposite1" presStyleCnt="0"/>
      <dgm:spPr/>
    </dgm:pt>
    <dgm:pt modelId="{0F03B506-DF7D-4EDC-9CBB-838910818EB2}" type="pres">
      <dgm:prSet presAssocID="{5C944BB5-FA95-4697-A30A-C26610522946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5FB563E-E9E4-4C3D-AE62-0D07C13F7C21}" type="pres">
      <dgm:prSet presAssocID="{5C944BB5-FA95-4697-A30A-C26610522946}" presName="rootConnector1" presStyleLbl="node1" presStyleIdx="0" presStyleCnt="0"/>
      <dgm:spPr/>
      <dgm:t>
        <a:bodyPr/>
        <a:lstStyle/>
        <a:p>
          <a:endParaRPr lang="en-US"/>
        </a:p>
      </dgm:t>
    </dgm:pt>
    <dgm:pt modelId="{DD82F826-9986-417E-BE47-549EB1B5DEB4}" type="pres">
      <dgm:prSet presAssocID="{5C944BB5-FA95-4697-A30A-C26610522946}" presName="hierChild2" presStyleCnt="0"/>
      <dgm:spPr/>
    </dgm:pt>
    <dgm:pt modelId="{D2703CDA-D3D5-4CBB-9076-173417D9B457}" type="pres">
      <dgm:prSet presAssocID="{A73902B5-6A97-4F4C-AE5B-385720AB3F42}" presName="Name37" presStyleLbl="parChTrans1D2" presStyleIdx="0" presStyleCnt="6"/>
      <dgm:spPr/>
      <dgm:t>
        <a:bodyPr/>
        <a:lstStyle/>
        <a:p>
          <a:endParaRPr lang="en-US"/>
        </a:p>
      </dgm:t>
    </dgm:pt>
    <dgm:pt modelId="{A406CB97-A64D-4F66-B04B-FB2753FB1EB7}" type="pres">
      <dgm:prSet presAssocID="{AF613442-0BD9-46ED-AC95-4CABA8D66911}" presName="hierRoot2" presStyleCnt="0">
        <dgm:presLayoutVars>
          <dgm:hierBranch val="init"/>
        </dgm:presLayoutVars>
      </dgm:prSet>
      <dgm:spPr/>
    </dgm:pt>
    <dgm:pt modelId="{71D62B99-B763-42C3-B119-EDE933D2DFA9}" type="pres">
      <dgm:prSet presAssocID="{AF613442-0BD9-46ED-AC95-4CABA8D66911}" presName="rootComposite" presStyleCnt="0"/>
      <dgm:spPr/>
    </dgm:pt>
    <dgm:pt modelId="{FC9F55D5-578C-4FBE-80B2-894D2BA3D127}" type="pres">
      <dgm:prSet presAssocID="{AF613442-0BD9-46ED-AC95-4CABA8D66911}" presName="rootText" presStyleLbl="node2" presStyleIdx="0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39A5186-F9BD-4A93-885B-A22BBD1F10DC}" type="pres">
      <dgm:prSet presAssocID="{AF613442-0BD9-46ED-AC95-4CABA8D66911}" presName="rootConnector" presStyleLbl="node2" presStyleIdx="0" presStyleCnt="6"/>
      <dgm:spPr/>
      <dgm:t>
        <a:bodyPr/>
        <a:lstStyle/>
        <a:p>
          <a:endParaRPr lang="en-US"/>
        </a:p>
      </dgm:t>
    </dgm:pt>
    <dgm:pt modelId="{27A132DD-F13D-479A-81CD-52B1783F694A}" type="pres">
      <dgm:prSet presAssocID="{AF613442-0BD9-46ED-AC95-4CABA8D66911}" presName="hierChild4" presStyleCnt="0"/>
      <dgm:spPr/>
    </dgm:pt>
    <dgm:pt modelId="{C8998C84-44B1-416B-9E0B-E30B0491406F}" type="pres">
      <dgm:prSet presAssocID="{AF613442-0BD9-46ED-AC95-4CABA8D66911}" presName="hierChild5" presStyleCnt="0"/>
      <dgm:spPr/>
    </dgm:pt>
    <dgm:pt modelId="{67768A83-836E-4026-A78B-38C831358306}" type="pres">
      <dgm:prSet presAssocID="{4370EB74-91B5-414E-9AE7-6FAF170203F4}" presName="Name37" presStyleLbl="parChTrans1D2" presStyleIdx="1" presStyleCnt="6"/>
      <dgm:spPr/>
      <dgm:t>
        <a:bodyPr/>
        <a:lstStyle/>
        <a:p>
          <a:endParaRPr lang="en-US"/>
        </a:p>
      </dgm:t>
    </dgm:pt>
    <dgm:pt modelId="{39587C31-21E9-4939-A6D4-74CBC388F1A2}" type="pres">
      <dgm:prSet presAssocID="{C22C0127-C085-4EAB-BA71-84CF6FE8E1C6}" presName="hierRoot2" presStyleCnt="0">
        <dgm:presLayoutVars>
          <dgm:hierBranch val="init"/>
        </dgm:presLayoutVars>
      </dgm:prSet>
      <dgm:spPr/>
    </dgm:pt>
    <dgm:pt modelId="{87441A9E-3A5B-4F5F-8AB0-DD2AF7A04610}" type="pres">
      <dgm:prSet presAssocID="{C22C0127-C085-4EAB-BA71-84CF6FE8E1C6}" presName="rootComposite" presStyleCnt="0"/>
      <dgm:spPr/>
    </dgm:pt>
    <dgm:pt modelId="{1D8D751D-E1B0-4B0E-B84D-9060579A4972}" type="pres">
      <dgm:prSet presAssocID="{C22C0127-C085-4EAB-BA71-84CF6FE8E1C6}" presName="rootText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C3BDF5A-5596-4A0A-ADE5-218C5F00E5EC}" type="pres">
      <dgm:prSet presAssocID="{C22C0127-C085-4EAB-BA71-84CF6FE8E1C6}" presName="rootConnector" presStyleLbl="node2" presStyleIdx="1" presStyleCnt="6"/>
      <dgm:spPr/>
      <dgm:t>
        <a:bodyPr/>
        <a:lstStyle/>
        <a:p>
          <a:endParaRPr lang="en-US"/>
        </a:p>
      </dgm:t>
    </dgm:pt>
    <dgm:pt modelId="{602B5677-FA87-42F1-BDAC-B789699D6E8D}" type="pres">
      <dgm:prSet presAssocID="{C22C0127-C085-4EAB-BA71-84CF6FE8E1C6}" presName="hierChild4" presStyleCnt="0"/>
      <dgm:spPr/>
    </dgm:pt>
    <dgm:pt modelId="{3739130E-2EFC-49E7-966D-DDDE3E7FBF1F}" type="pres">
      <dgm:prSet presAssocID="{C22C0127-C085-4EAB-BA71-84CF6FE8E1C6}" presName="hierChild5" presStyleCnt="0"/>
      <dgm:spPr/>
    </dgm:pt>
    <dgm:pt modelId="{AA6D9927-105B-4550-AB57-6ACED35F0539}" type="pres">
      <dgm:prSet presAssocID="{F56EE1ED-A2DC-4D4F-87A3-5EE30A57AB9A}" presName="Name37" presStyleLbl="parChTrans1D2" presStyleIdx="2" presStyleCnt="6"/>
      <dgm:spPr/>
      <dgm:t>
        <a:bodyPr/>
        <a:lstStyle/>
        <a:p>
          <a:endParaRPr lang="en-US"/>
        </a:p>
      </dgm:t>
    </dgm:pt>
    <dgm:pt modelId="{1C0EEB57-B9EA-403D-A9C7-CD9781A9A764}" type="pres">
      <dgm:prSet presAssocID="{09AFF02B-E683-4F92-BDA7-7BD0AC4C64FF}" presName="hierRoot2" presStyleCnt="0">
        <dgm:presLayoutVars>
          <dgm:hierBranch val="init"/>
        </dgm:presLayoutVars>
      </dgm:prSet>
      <dgm:spPr/>
    </dgm:pt>
    <dgm:pt modelId="{0AA9C0D7-A6BA-4460-99EE-7A08343515EE}" type="pres">
      <dgm:prSet presAssocID="{09AFF02B-E683-4F92-BDA7-7BD0AC4C64FF}" presName="rootComposite" presStyleCnt="0"/>
      <dgm:spPr/>
    </dgm:pt>
    <dgm:pt modelId="{0E9FE36D-D70A-4493-9AF0-0183A3E068CE}" type="pres">
      <dgm:prSet presAssocID="{09AFF02B-E683-4F92-BDA7-7BD0AC4C64FF}" presName="rootText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9A39BDC-D1E4-4273-80EB-FCFED504B6C2}" type="pres">
      <dgm:prSet presAssocID="{09AFF02B-E683-4F92-BDA7-7BD0AC4C64FF}" presName="rootConnector" presStyleLbl="node2" presStyleIdx="2" presStyleCnt="6"/>
      <dgm:spPr/>
      <dgm:t>
        <a:bodyPr/>
        <a:lstStyle/>
        <a:p>
          <a:endParaRPr lang="en-US"/>
        </a:p>
      </dgm:t>
    </dgm:pt>
    <dgm:pt modelId="{224FE3F3-1779-40DC-89C6-31660BCD4218}" type="pres">
      <dgm:prSet presAssocID="{09AFF02B-E683-4F92-BDA7-7BD0AC4C64FF}" presName="hierChild4" presStyleCnt="0"/>
      <dgm:spPr/>
    </dgm:pt>
    <dgm:pt modelId="{AA0CF89F-EE18-410E-A4C7-A99375F4FB58}" type="pres">
      <dgm:prSet presAssocID="{09AFF02B-E683-4F92-BDA7-7BD0AC4C64FF}" presName="hierChild5" presStyleCnt="0"/>
      <dgm:spPr/>
    </dgm:pt>
    <dgm:pt modelId="{3A0AAC12-3659-4B9A-8357-FE3E9D2818C3}" type="pres">
      <dgm:prSet presAssocID="{5EE5739B-38BE-46E1-A8CD-614D5E3A3989}" presName="Name37" presStyleLbl="parChTrans1D2" presStyleIdx="3" presStyleCnt="6"/>
      <dgm:spPr/>
      <dgm:t>
        <a:bodyPr/>
        <a:lstStyle/>
        <a:p>
          <a:endParaRPr lang="en-US"/>
        </a:p>
      </dgm:t>
    </dgm:pt>
    <dgm:pt modelId="{1AB2768A-A342-41FB-A393-D81F92350366}" type="pres">
      <dgm:prSet presAssocID="{0CD029D3-91CF-498E-91A4-2D6B4FE879A8}" presName="hierRoot2" presStyleCnt="0">
        <dgm:presLayoutVars>
          <dgm:hierBranch val="init"/>
        </dgm:presLayoutVars>
      </dgm:prSet>
      <dgm:spPr/>
    </dgm:pt>
    <dgm:pt modelId="{78F1EA42-4CDB-4376-8FF9-423CAA10C9C5}" type="pres">
      <dgm:prSet presAssocID="{0CD029D3-91CF-498E-91A4-2D6B4FE879A8}" presName="rootComposite" presStyleCnt="0"/>
      <dgm:spPr/>
    </dgm:pt>
    <dgm:pt modelId="{997DCFC3-DB93-48D2-A59C-2F1D93232EB0}" type="pres">
      <dgm:prSet presAssocID="{0CD029D3-91CF-498E-91A4-2D6B4FE879A8}" presName="rootText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EF7FD64-6E45-4CA6-A11C-16F819256336}" type="pres">
      <dgm:prSet presAssocID="{0CD029D3-91CF-498E-91A4-2D6B4FE879A8}" presName="rootConnector" presStyleLbl="node2" presStyleIdx="3" presStyleCnt="6"/>
      <dgm:spPr/>
      <dgm:t>
        <a:bodyPr/>
        <a:lstStyle/>
        <a:p>
          <a:endParaRPr lang="en-US"/>
        </a:p>
      </dgm:t>
    </dgm:pt>
    <dgm:pt modelId="{11B57CFE-6315-411A-B360-66E22DD3C7C2}" type="pres">
      <dgm:prSet presAssocID="{0CD029D3-91CF-498E-91A4-2D6B4FE879A8}" presName="hierChild4" presStyleCnt="0"/>
      <dgm:spPr/>
    </dgm:pt>
    <dgm:pt modelId="{6A930902-2428-4596-8DF3-F74EBD187CFA}" type="pres">
      <dgm:prSet presAssocID="{0CD029D3-91CF-498E-91A4-2D6B4FE879A8}" presName="hierChild5" presStyleCnt="0"/>
      <dgm:spPr/>
    </dgm:pt>
    <dgm:pt modelId="{CFD832A2-E4D5-457F-B935-02726E40521A}" type="pres">
      <dgm:prSet presAssocID="{BB3EFC77-3600-4C74-BABF-0B2BFB858476}" presName="Name37" presStyleLbl="parChTrans1D2" presStyleIdx="4" presStyleCnt="6"/>
      <dgm:spPr/>
      <dgm:t>
        <a:bodyPr/>
        <a:lstStyle/>
        <a:p>
          <a:endParaRPr lang="en-US"/>
        </a:p>
      </dgm:t>
    </dgm:pt>
    <dgm:pt modelId="{48C0553A-21F7-4315-8932-2C6015FF7017}" type="pres">
      <dgm:prSet presAssocID="{60C9395B-6613-47A4-AB3D-AC56BCE2DF0E}" presName="hierRoot2" presStyleCnt="0">
        <dgm:presLayoutVars>
          <dgm:hierBranch val="init"/>
        </dgm:presLayoutVars>
      </dgm:prSet>
      <dgm:spPr/>
    </dgm:pt>
    <dgm:pt modelId="{CAFE5248-D2A3-4037-B189-3F251702A79F}" type="pres">
      <dgm:prSet presAssocID="{60C9395B-6613-47A4-AB3D-AC56BCE2DF0E}" presName="rootComposite" presStyleCnt="0"/>
      <dgm:spPr/>
    </dgm:pt>
    <dgm:pt modelId="{C7BB2087-3735-4F69-9B29-10673586CDA7}" type="pres">
      <dgm:prSet presAssocID="{60C9395B-6613-47A4-AB3D-AC56BCE2DF0E}" presName="rootText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AE5AADB-39B2-4D5C-BEB3-3BBE42BDFF07}" type="pres">
      <dgm:prSet presAssocID="{60C9395B-6613-47A4-AB3D-AC56BCE2DF0E}" presName="rootConnector" presStyleLbl="node2" presStyleIdx="4" presStyleCnt="6"/>
      <dgm:spPr/>
      <dgm:t>
        <a:bodyPr/>
        <a:lstStyle/>
        <a:p>
          <a:endParaRPr lang="en-US"/>
        </a:p>
      </dgm:t>
    </dgm:pt>
    <dgm:pt modelId="{C36F9F59-56B5-4F98-8037-FB477CEAA5B7}" type="pres">
      <dgm:prSet presAssocID="{60C9395B-6613-47A4-AB3D-AC56BCE2DF0E}" presName="hierChild4" presStyleCnt="0"/>
      <dgm:spPr/>
    </dgm:pt>
    <dgm:pt modelId="{56B11A27-A847-4D26-BB3F-952A71EA2631}" type="pres">
      <dgm:prSet presAssocID="{60C9395B-6613-47A4-AB3D-AC56BCE2DF0E}" presName="hierChild5" presStyleCnt="0"/>
      <dgm:spPr/>
    </dgm:pt>
    <dgm:pt modelId="{76C6C112-09E8-4D5B-AD8A-D933CDDE12F0}" type="pres">
      <dgm:prSet presAssocID="{51875D85-7D3C-4483-964C-AA9B25AEFF85}" presName="Name37" presStyleLbl="parChTrans1D2" presStyleIdx="5" presStyleCnt="6"/>
      <dgm:spPr/>
      <dgm:t>
        <a:bodyPr/>
        <a:lstStyle/>
        <a:p>
          <a:endParaRPr lang="en-US"/>
        </a:p>
      </dgm:t>
    </dgm:pt>
    <dgm:pt modelId="{681380EB-9241-496F-928D-6B382164AA5C}" type="pres">
      <dgm:prSet presAssocID="{D6998857-D071-4115-AE10-2D210069842C}" presName="hierRoot2" presStyleCnt="0">
        <dgm:presLayoutVars>
          <dgm:hierBranch val="init"/>
        </dgm:presLayoutVars>
      </dgm:prSet>
      <dgm:spPr/>
    </dgm:pt>
    <dgm:pt modelId="{D7066825-F21D-4CF1-9FDF-10E69067709F}" type="pres">
      <dgm:prSet presAssocID="{D6998857-D071-4115-AE10-2D210069842C}" presName="rootComposite" presStyleCnt="0"/>
      <dgm:spPr/>
    </dgm:pt>
    <dgm:pt modelId="{4A0DE5C9-6458-4C4D-A72E-5A768F3D1724}" type="pres">
      <dgm:prSet presAssocID="{D6998857-D071-4115-AE10-2D210069842C}" presName="rootText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DCF14E5-86EA-48C6-81D1-F4FC7DDDE386}" type="pres">
      <dgm:prSet presAssocID="{D6998857-D071-4115-AE10-2D210069842C}" presName="rootConnector" presStyleLbl="node2" presStyleIdx="5" presStyleCnt="6"/>
      <dgm:spPr/>
      <dgm:t>
        <a:bodyPr/>
        <a:lstStyle/>
        <a:p>
          <a:endParaRPr lang="en-US"/>
        </a:p>
      </dgm:t>
    </dgm:pt>
    <dgm:pt modelId="{448BD2A2-F4B5-4F5D-B4F2-E24CBEBAEFCF}" type="pres">
      <dgm:prSet presAssocID="{D6998857-D071-4115-AE10-2D210069842C}" presName="hierChild4" presStyleCnt="0"/>
      <dgm:spPr/>
    </dgm:pt>
    <dgm:pt modelId="{9F4BC11F-273C-4FE2-AC8B-C7F2E5B955C3}" type="pres">
      <dgm:prSet presAssocID="{D6998857-D071-4115-AE10-2D210069842C}" presName="hierChild5" presStyleCnt="0"/>
      <dgm:spPr/>
    </dgm:pt>
    <dgm:pt modelId="{C36B2C3E-81B8-47C5-A599-2BF5556D4FDC}" type="pres">
      <dgm:prSet presAssocID="{5C944BB5-FA95-4697-A30A-C26610522946}" presName="hierChild3" presStyleCnt="0"/>
      <dgm:spPr/>
    </dgm:pt>
  </dgm:ptLst>
  <dgm:cxnLst>
    <dgm:cxn modelId="{1D319E1A-12AE-4DDB-8D98-081DCA4B57DC}" type="presOf" srcId="{51875D85-7D3C-4483-964C-AA9B25AEFF85}" destId="{76C6C112-09E8-4D5B-AD8A-D933CDDE12F0}" srcOrd="0" destOrd="0" presId="urn:microsoft.com/office/officeart/2005/8/layout/orgChart1"/>
    <dgm:cxn modelId="{0274280D-FBAD-496F-B345-6BC685308E99}" srcId="{5C944BB5-FA95-4697-A30A-C26610522946}" destId="{C22C0127-C085-4EAB-BA71-84CF6FE8E1C6}" srcOrd="1" destOrd="0" parTransId="{4370EB74-91B5-414E-9AE7-6FAF170203F4}" sibTransId="{8F3E5848-8614-42D3-8631-3C52CD9D7FE3}"/>
    <dgm:cxn modelId="{FB84C025-F749-44A5-8D5E-D5D36EB5BE8C}" type="presOf" srcId="{A73902B5-6A97-4F4C-AE5B-385720AB3F42}" destId="{D2703CDA-D3D5-4CBB-9076-173417D9B457}" srcOrd="0" destOrd="0" presId="urn:microsoft.com/office/officeart/2005/8/layout/orgChart1"/>
    <dgm:cxn modelId="{3088B797-B89F-4AC4-9C42-CD9B8F0CE121}" type="presOf" srcId="{C22C0127-C085-4EAB-BA71-84CF6FE8E1C6}" destId="{CC3BDF5A-5596-4A0A-ADE5-218C5F00E5EC}" srcOrd="1" destOrd="0" presId="urn:microsoft.com/office/officeart/2005/8/layout/orgChart1"/>
    <dgm:cxn modelId="{EC60430D-CF1F-4F7D-A05F-CE8B0F3689DC}" srcId="{5C944BB5-FA95-4697-A30A-C26610522946}" destId="{09AFF02B-E683-4F92-BDA7-7BD0AC4C64FF}" srcOrd="2" destOrd="0" parTransId="{F56EE1ED-A2DC-4D4F-87A3-5EE30A57AB9A}" sibTransId="{15B75840-A40B-475D-B26F-BD65328F96B0}"/>
    <dgm:cxn modelId="{2DDACDFF-4102-44CC-9DFD-F9E49475E4F5}" type="presOf" srcId="{BB3EFC77-3600-4C74-BABF-0B2BFB858476}" destId="{CFD832A2-E4D5-457F-B935-02726E40521A}" srcOrd="0" destOrd="0" presId="urn:microsoft.com/office/officeart/2005/8/layout/orgChart1"/>
    <dgm:cxn modelId="{706B331A-F288-41E4-AFBB-A490095E0A1D}" type="presOf" srcId="{D6998857-D071-4115-AE10-2D210069842C}" destId="{FDCF14E5-86EA-48C6-81D1-F4FC7DDDE386}" srcOrd="1" destOrd="0" presId="urn:microsoft.com/office/officeart/2005/8/layout/orgChart1"/>
    <dgm:cxn modelId="{15C42275-B362-4002-8A56-6514D7F1A5DC}" type="presOf" srcId="{5C944BB5-FA95-4697-A30A-C26610522946}" destId="{F5FB563E-E9E4-4C3D-AE62-0D07C13F7C21}" srcOrd="1" destOrd="0" presId="urn:microsoft.com/office/officeart/2005/8/layout/orgChart1"/>
    <dgm:cxn modelId="{EB238677-7F79-4676-B8A0-1F0C2C45D6CC}" type="presOf" srcId="{5EE5739B-38BE-46E1-A8CD-614D5E3A3989}" destId="{3A0AAC12-3659-4B9A-8357-FE3E9D2818C3}" srcOrd="0" destOrd="0" presId="urn:microsoft.com/office/officeart/2005/8/layout/orgChart1"/>
    <dgm:cxn modelId="{EB225637-9D5C-46BC-BA3E-D84D28AA31AF}" type="presOf" srcId="{0CD029D3-91CF-498E-91A4-2D6B4FE879A8}" destId="{997DCFC3-DB93-48D2-A59C-2F1D93232EB0}" srcOrd="0" destOrd="0" presId="urn:microsoft.com/office/officeart/2005/8/layout/orgChart1"/>
    <dgm:cxn modelId="{ABF2EE0A-A282-4027-BB24-C2E62E0A097B}" type="presOf" srcId="{CB72E05C-401E-41F9-A209-8AEF2D276BDC}" destId="{1F96F4D2-E63D-413D-9B31-0A5CC2425DFE}" srcOrd="0" destOrd="0" presId="urn:microsoft.com/office/officeart/2005/8/layout/orgChart1"/>
    <dgm:cxn modelId="{C8C127E1-9691-4DAD-BE95-7E8AEF1D48D1}" srcId="{5C944BB5-FA95-4697-A30A-C26610522946}" destId="{60C9395B-6613-47A4-AB3D-AC56BCE2DF0E}" srcOrd="4" destOrd="0" parTransId="{BB3EFC77-3600-4C74-BABF-0B2BFB858476}" sibTransId="{3A0A5D31-7831-4504-B238-15DFE5BF9A15}"/>
    <dgm:cxn modelId="{237D3324-7A1F-44CD-ACB4-C2AFDAFD461F}" type="presOf" srcId="{5C944BB5-FA95-4697-A30A-C26610522946}" destId="{0F03B506-DF7D-4EDC-9CBB-838910818EB2}" srcOrd="0" destOrd="0" presId="urn:microsoft.com/office/officeart/2005/8/layout/orgChart1"/>
    <dgm:cxn modelId="{675FF844-7B14-4B5A-9C42-FCF18BA10B2A}" srcId="{5C944BB5-FA95-4697-A30A-C26610522946}" destId="{0CD029D3-91CF-498E-91A4-2D6B4FE879A8}" srcOrd="3" destOrd="0" parTransId="{5EE5739B-38BE-46E1-A8CD-614D5E3A3989}" sibTransId="{AF16EB81-4CCB-4EB1-BAE8-44CEFCA51191}"/>
    <dgm:cxn modelId="{CB62B23A-F66B-4071-8FDE-4729F6FD1E54}" type="presOf" srcId="{AF613442-0BD9-46ED-AC95-4CABA8D66911}" destId="{FC9F55D5-578C-4FBE-80B2-894D2BA3D127}" srcOrd="0" destOrd="0" presId="urn:microsoft.com/office/officeart/2005/8/layout/orgChart1"/>
    <dgm:cxn modelId="{B76E196A-26AB-453A-AB94-8AADF51AA7A6}" type="presOf" srcId="{09AFF02B-E683-4F92-BDA7-7BD0AC4C64FF}" destId="{0E9FE36D-D70A-4493-9AF0-0183A3E068CE}" srcOrd="0" destOrd="0" presId="urn:microsoft.com/office/officeart/2005/8/layout/orgChart1"/>
    <dgm:cxn modelId="{312BF520-7BF6-4E96-8E4B-285B52FB566A}" type="presOf" srcId="{4370EB74-91B5-414E-9AE7-6FAF170203F4}" destId="{67768A83-836E-4026-A78B-38C831358306}" srcOrd="0" destOrd="0" presId="urn:microsoft.com/office/officeart/2005/8/layout/orgChart1"/>
    <dgm:cxn modelId="{5490C549-832D-45EA-8053-A26A223D8791}" srcId="{5C944BB5-FA95-4697-A30A-C26610522946}" destId="{D6998857-D071-4115-AE10-2D210069842C}" srcOrd="5" destOrd="0" parTransId="{51875D85-7D3C-4483-964C-AA9B25AEFF85}" sibTransId="{B1456CCD-0242-46A1-BF99-32A23B8B2843}"/>
    <dgm:cxn modelId="{B88CEF6D-7904-4D20-9BA3-F7E9F66F0B35}" srcId="{CB72E05C-401E-41F9-A209-8AEF2D276BDC}" destId="{5C944BB5-FA95-4697-A30A-C26610522946}" srcOrd="0" destOrd="0" parTransId="{5C50D0F1-0737-4E68-B031-FE25E25E2365}" sibTransId="{207F906C-1E0C-45A1-A837-1E3CFB4E7FEB}"/>
    <dgm:cxn modelId="{1E3C996A-3FE8-494F-9C67-F3B2568F7B9B}" type="presOf" srcId="{09AFF02B-E683-4F92-BDA7-7BD0AC4C64FF}" destId="{99A39BDC-D1E4-4273-80EB-FCFED504B6C2}" srcOrd="1" destOrd="0" presId="urn:microsoft.com/office/officeart/2005/8/layout/orgChart1"/>
    <dgm:cxn modelId="{36C599AC-7037-448D-A89A-AD4771637441}" type="presOf" srcId="{D6998857-D071-4115-AE10-2D210069842C}" destId="{4A0DE5C9-6458-4C4D-A72E-5A768F3D1724}" srcOrd="0" destOrd="0" presId="urn:microsoft.com/office/officeart/2005/8/layout/orgChart1"/>
    <dgm:cxn modelId="{D5F3A57E-C579-45D0-A717-FD0CB7856000}" type="presOf" srcId="{AF613442-0BD9-46ED-AC95-4CABA8D66911}" destId="{D39A5186-F9BD-4A93-885B-A22BBD1F10DC}" srcOrd="1" destOrd="0" presId="urn:microsoft.com/office/officeart/2005/8/layout/orgChart1"/>
    <dgm:cxn modelId="{CB19CACD-298F-4F36-934F-D99E86724970}" type="presOf" srcId="{F56EE1ED-A2DC-4D4F-87A3-5EE30A57AB9A}" destId="{AA6D9927-105B-4550-AB57-6ACED35F0539}" srcOrd="0" destOrd="0" presId="urn:microsoft.com/office/officeart/2005/8/layout/orgChart1"/>
    <dgm:cxn modelId="{6E65B38A-2974-4968-9016-E424A06630B9}" type="presOf" srcId="{0CD029D3-91CF-498E-91A4-2D6B4FE879A8}" destId="{0EF7FD64-6E45-4CA6-A11C-16F819256336}" srcOrd="1" destOrd="0" presId="urn:microsoft.com/office/officeart/2005/8/layout/orgChart1"/>
    <dgm:cxn modelId="{7BB7045A-CAA9-4DAA-9190-204F37DF5427}" srcId="{5C944BB5-FA95-4697-A30A-C26610522946}" destId="{AF613442-0BD9-46ED-AC95-4CABA8D66911}" srcOrd="0" destOrd="0" parTransId="{A73902B5-6A97-4F4C-AE5B-385720AB3F42}" sibTransId="{568F1DD1-988D-4988-808B-986AC02DD15C}"/>
    <dgm:cxn modelId="{8AF96539-12F0-4926-B88A-A3500F3FA1E5}" type="presOf" srcId="{60C9395B-6613-47A4-AB3D-AC56BCE2DF0E}" destId="{C7BB2087-3735-4F69-9B29-10673586CDA7}" srcOrd="0" destOrd="0" presId="urn:microsoft.com/office/officeart/2005/8/layout/orgChart1"/>
    <dgm:cxn modelId="{A9566A72-D0E9-4277-B154-1832B6308635}" type="presOf" srcId="{60C9395B-6613-47A4-AB3D-AC56BCE2DF0E}" destId="{DAE5AADB-39B2-4D5C-BEB3-3BBE42BDFF07}" srcOrd="1" destOrd="0" presId="urn:microsoft.com/office/officeart/2005/8/layout/orgChart1"/>
    <dgm:cxn modelId="{B34853C2-C239-4626-99F3-11D47EE3AD4A}" type="presOf" srcId="{C22C0127-C085-4EAB-BA71-84CF6FE8E1C6}" destId="{1D8D751D-E1B0-4B0E-B84D-9060579A4972}" srcOrd="0" destOrd="0" presId="urn:microsoft.com/office/officeart/2005/8/layout/orgChart1"/>
    <dgm:cxn modelId="{011D3298-C760-44EC-BF4C-EBDF24EF20BC}" type="presParOf" srcId="{1F96F4D2-E63D-413D-9B31-0A5CC2425DFE}" destId="{0E149003-7EA8-4C52-841A-FEC5931354D5}" srcOrd="0" destOrd="0" presId="urn:microsoft.com/office/officeart/2005/8/layout/orgChart1"/>
    <dgm:cxn modelId="{2C3E4C55-A91A-41E6-958A-982638EC0ECE}" type="presParOf" srcId="{0E149003-7EA8-4C52-841A-FEC5931354D5}" destId="{030BADCD-2172-4B9E-AAC6-97BF6ECCB8A7}" srcOrd="0" destOrd="0" presId="urn:microsoft.com/office/officeart/2005/8/layout/orgChart1"/>
    <dgm:cxn modelId="{B22553C8-61BB-4CA7-B591-14A6A9CA4DE3}" type="presParOf" srcId="{030BADCD-2172-4B9E-AAC6-97BF6ECCB8A7}" destId="{0F03B506-DF7D-4EDC-9CBB-838910818EB2}" srcOrd="0" destOrd="0" presId="urn:microsoft.com/office/officeart/2005/8/layout/orgChart1"/>
    <dgm:cxn modelId="{AA2A3261-5BFE-4164-B2CB-F4ACBA1A0D22}" type="presParOf" srcId="{030BADCD-2172-4B9E-AAC6-97BF6ECCB8A7}" destId="{F5FB563E-E9E4-4C3D-AE62-0D07C13F7C21}" srcOrd="1" destOrd="0" presId="urn:microsoft.com/office/officeart/2005/8/layout/orgChart1"/>
    <dgm:cxn modelId="{F017BBCB-81F9-431E-A58D-F79E750082D3}" type="presParOf" srcId="{0E149003-7EA8-4C52-841A-FEC5931354D5}" destId="{DD82F826-9986-417E-BE47-549EB1B5DEB4}" srcOrd="1" destOrd="0" presId="urn:microsoft.com/office/officeart/2005/8/layout/orgChart1"/>
    <dgm:cxn modelId="{C760271C-7B03-4FBD-A7B0-6F2B513B1A96}" type="presParOf" srcId="{DD82F826-9986-417E-BE47-549EB1B5DEB4}" destId="{D2703CDA-D3D5-4CBB-9076-173417D9B457}" srcOrd="0" destOrd="0" presId="urn:microsoft.com/office/officeart/2005/8/layout/orgChart1"/>
    <dgm:cxn modelId="{F32BD34A-912A-4A68-A70B-51AEAD2B266C}" type="presParOf" srcId="{DD82F826-9986-417E-BE47-549EB1B5DEB4}" destId="{A406CB97-A64D-4F66-B04B-FB2753FB1EB7}" srcOrd="1" destOrd="0" presId="urn:microsoft.com/office/officeart/2005/8/layout/orgChart1"/>
    <dgm:cxn modelId="{145A1CCD-1658-485C-AB86-A9657ACE6114}" type="presParOf" srcId="{A406CB97-A64D-4F66-B04B-FB2753FB1EB7}" destId="{71D62B99-B763-42C3-B119-EDE933D2DFA9}" srcOrd="0" destOrd="0" presId="urn:microsoft.com/office/officeart/2005/8/layout/orgChart1"/>
    <dgm:cxn modelId="{53D4EA60-0C07-43FE-9BFC-DC1FEAC96A13}" type="presParOf" srcId="{71D62B99-B763-42C3-B119-EDE933D2DFA9}" destId="{FC9F55D5-578C-4FBE-80B2-894D2BA3D127}" srcOrd="0" destOrd="0" presId="urn:microsoft.com/office/officeart/2005/8/layout/orgChart1"/>
    <dgm:cxn modelId="{9CFCF11D-C951-44E5-A2C7-BBA1891F2500}" type="presParOf" srcId="{71D62B99-B763-42C3-B119-EDE933D2DFA9}" destId="{D39A5186-F9BD-4A93-885B-A22BBD1F10DC}" srcOrd="1" destOrd="0" presId="urn:microsoft.com/office/officeart/2005/8/layout/orgChart1"/>
    <dgm:cxn modelId="{D418C3E0-8843-422E-93F5-2AB98565F5F8}" type="presParOf" srcId="{A406CB97-A64D-4F66-B04B-FB2753FB1EB7}" destId="{27A132DD-F13D-479A-81CD-52B1783F694A}" srcOrd="1" destOrd="0" presId="urn:microsoft.com/office/officeart/2005/8/layout/orgChart1"/>
    <dgm:cxn modelId="{FAABF4A5-C929-4FA5-8731-69D251A52BB6}" type="presParOf" srcId="{A406CB97-A64D-4F66-B04B-FB2753FB1EB7}" destId="{C8998C84-44B1-416B-9E0B-E30B0491406F}" srcOrd="2" destOrd="0" presId="urn:microsoft.com/office/officeart/2005/8/layout/orgChart1"/>
    <dgm:cxn modelId="{A24DD54A-36FC-480E-A206-F454894FD775}" type="presParOf" srcId="{DD82F826-9986-417E-BE47-549EB1B5DEB4}" destId="{67768A83-836E-4026-A78B-38C831358306}" srcOrd="2" destOrd="0" presId="urn:microsoft.com/office/officeart/2005/8/layout/orgChart1"/>
    <dgm:cxn modelId="{FFDDEC93-814A-4159-B4F9-E62C328BAAB9}" type="presParOf" srcId="{DD82F826-9986-417E-BE47-549EB1B5DEB4}" destId="{39587C31-21E9-4939-A6D4-74CBC388F1A2}" srcOrd="3" destOrd="0" presId="urn:microsoft.com/office/officeart/2005/8/layout/orgChart1"/>
    <dgm:cxn modelId="{2FB71708-CD9F-454C-A9CF-10144EBD9A3C}" type="presParOf" srcId="{39587C31-21E9-4939-A6D4-74CBC388F1A2}" destId="{87441A9E-3A5B-4F5F-8AB0-DD2AF7A04610}" srcOrd="0" destOrd="0" presId="urn:microsoft.com/office/officeart/2005/8/layout/orgChart1"/>
    <dgm:cxn modelId="{D47D95AF-B1EA-424D-BE6B-2C4763F9F593}" type="presParOf" srcId="{87441A9E-3A5B-4F5F-8AB0-DD2AF7A04610}" destId="{1D8D751D-E1B0-4B0E-B84D-9060579A4972}" srcOrd="0" destOrd="0" presId="urn:microsoft.com/office/officeart/2005/8/layout/orgChart1"/>
    <dgm:cxn modelId="{D9C8DF4E-25F6-495F-8FCE-A6317A30A5CD}" type="presParOf" srcId="{87441A9E-3A5B-4F5F-8AB0-DD2AF7A04610}" destId="{CC3BDF5A-5596-4A0A-ADE5-218C5F00E5EC}" srcOrd="1" destOrd="0" presId="urn:microsoft.com/office/officeart/2005/8/layout/orgChart1"/>
    <dgm:cxn modelId="{D7CA07C7-2037-4C5A-BBE1-75E318C2E2CD}" type="presParOf" srcId="{39587C31-21E9-4939-A6D4-74CBC388F1A2}" destId="{602B5677-FA87-42F1-BDAC-B789699D6E8D}" srcOrd="1" destOrd="0" presId="urn:microsoft.com/office/officeart/2005/8/layout/orgChart1"/>
    <dgm:cxn modelId="{5ADEDF44-2C5F-4BA1-AF67-3076131482A2}" type="presParOf" srcId="{39587C31-21E9-4939-A6D4-74CBC388F1A2}" destId="{3739130E-2EFC-49E7-966D-DDDE3E7FBF1F}" srcOrd="2" destOrd="0" presId="urn:microsoft.com/office/officeart/2005/8/layout/orgChart1"/>
    <dgm:cxn modelId="{F1F5737B-6F65-4EFC-82AB-003F6BE30675}" type="presParOf" srcId="{DD82F826-9986-417E-BE47-549EB1B5DEB4}" destId="{AA6D9927-105B-4550-AB57-6ACED35F0539}" srcOrd="4" destOrd="0" presId="urn:microsoft.com/office/officeart/2005/8/layout/orgChart1"/>
    <dgm:cxn modelId="{8A3DC653-2C83-45CE-8DE1-38B52BB9313E}" type="presParOf" srcId="{DD82F826-9986-417E-BE47-549EB1B5DEB4}" destId="{1C0EEB57-B9EA-403D-A9C7-CD9781A9A764}" srcOrd="5" destOrd="0" presId="urn:microsoft.com/office/officeart/2005/8/layout/orgChart1"/>
    <dgm:cxn modelId="{07C101CA-B422-480B-9808-8325D75678FF}" type="presParOf" srcId="{1C0EEB57-B9EA-403D-A9C7-CD9781A9A764}" destId="{0AA9C0D7-A6BA-4460-99EE-7A08343515EE}" srcOrd="0" destOrd="0" presId="urn:microsoft.com/office/officeart/2005/8/layout/orgChart1"/>
    <dgm:cxn modelId="{ED4F4C66-DDCF-47DD-833A-7FE5FDD4E606}" type="presParOf" srcId="{0AA9C0D7-A6BA-4460-99EE-7A08343515EE}" destId="{0E9FE36D-D70A-4493-9AF0-0183A3E068CE}" srcOrd="0" destOrd="0" presId="urn:microsoft.com/office/officeart/2005/8/layout/orgChart1"/>
    <dgm:cxn modelId="{B25C91B0-1668-4C4B-9029-1F24ACBDD98F}" type="presParOf" srcId="{0AA9C0D7-A6BA-4460-99EE-7A08343515EE}" destId="{99A39BDC-D1E4-4273-80EB-FCFED504B6C2}" srcOrd="1" destOrd="0" presId="urn:microsoft.com/office/officeart/2005/8/layout/orgChart1"/>
    <dgm:cxn modelId="{62630C7F-4B10-4826-857F-9788C650A275}" type="presParOf" srcId="{1C0EEB57-B9EA-403D-A9C7-CD9781A9A764}" destId="{224FE3F3-1779-40DC-89C6-31660BCD4218}" srcOrd="1" destOrd="0" presId="urn:microsoft.com/office/officeart/2005/8/layout/orgChart1"/>
    <dgm:cxn modelId="{75C9A884-FF97-453E-8725-E6DD59C4C4C7}" type="presParOf" srcId="{1C0EEB57-B9EA-403D-A9C7-CD9781A9A764}" destId="{AA0CF89F-EE18-410E-A4C7-A99375F4FB58}" srcOrd="2" destOrd="0" presId="urn:microsoft.com/office/officeart/2005/8/layout/orgChart1"/>
    <dgm:cxn modelId="{0D4AC8EF-86A1-4753-832F-EB522F5B1647}" type="presParOf" srcId="{DD82F826-9986-417E-BE47-549EB1B5DEB4}" destId="{3A0AAC12-3659-4B9A-8357-FE3E9D2818C3}" srcOrd="6" destOrd="0" presId="urn:microsoft.com/office/officeart/2005/8/layout/orgChart1"/>
    <dgm:cxn modelId="{EA0B6099-F009-48CC-9496-3F869916264A}" type="presParOf" srcId="{DD82F826-9986-417E-BE47-549EB1B5DEB4}" destId="{1AB2768A-A342-41FB-A393-D81F92350366}" srcOrd="7" destOrd="0" presId="urn:microsoft.com/office/officeart/2005/8/layout/orgChart1"/>
    <dgm:cxn modelId="{5BC89441-F54E-419F-A619-BA865F148489}" type="presParOf" srcId="{1AB2768A-A342-41FB-A393-D81F92350366}" destId="{78F1EA42-4CDB-4376-8FF9-423CAA10C9C5}" srcOrd="0" destOrd="0" presId="urn:microsoft.com/office/officeart/2005/8/layout/orgChart1"/>
    <dgm:cxn modelId="{10820658-AA36-4058-9BD0-2437A31730E6}" type="presParOf" srcId="{78F1EA42-4CDB-4376-8FF9-423CAA10C9C5}" destId="{997DCFC3-DB93-48D2-A59C-2F1D93232EB0}" srcOrd="0" destOrd="0" presId="urn:microsoft.com/office/officeart/2005/8/layout/orgChart1"/>
    <dgm:cxn modelId="{4006FE70-BD7F-4658-9B0D-3CD2AEB70FB7}" type="presParOf" srcId="{78F1EA42-4CDB-4376-8FF9-423CAA10C9C5}" destId="{0EF7FD64-6E45-4CA6-A11C-16F819256336}" srcOrd="1" destOrd="0" presId="urn:microsoft.com/office/officeart/2005/8/layout/orgChart1"/>
    <dgm:cxn modelId="{A3D436BC-DD27-4ED8-AB9A-E8B8DAAFE4F9}" type="presParOf" srcId="{1AB2768A-A342-41FB-A393-D81F92350366}" destId="{11B57CFE-6315-411A-B360-66E22DD3C7C2}" srcOrd="1" destOrd="0" presId="urn:microsoft.com/office/officeart/2005/8/layout/orgChart1"/>
    <dgm:cxn modelId="{9BA02630-7834-4E0F-8028-AA5022667505}" type="presParOf" srcId="{1AB2768A-A342-41FB-A393-D81F92350366}" destId="{6A930902-2428-4596-8DF3-F74EBD187CFA}" srcOrd="2" destOrd="0" presId="urn:microsoft.com/office/officeart/2005/8/layout/orgChart1"/>
    <dgm:cxn modelId="{C8038E5C-044E-481E-AB51-63CDEAE281D8}" type="presParOf" srcId="{DD82F826-9986-417E-BE47-549EB1B5DEB4}" destId="{CFD832A2-E4D5-457F-B935-02726E40521A}" srcOrd="8" destOrd="0" presId="urn:microsoft.com/office/officeart/2005/8/layout/orgChart1"/>
    <dgm:cxn modelId="{0674DC59-E6CD-402F-91C9-8A9F196A7D1E}" type="presParOf" srcId="{DD82F826-9986-417E-BE47-549EB1B5DEB4}" destId="{48C0553A-21F7-4315-8932-2C6015FF7017}" srcOrd="9" destOrd="0" presId="urn:microsoft.com/office/officeart/2005/8/layout/orgChart1"/>
    <dgm:cxn modelId="{5F4A94EC-CF7E-4647-9B87-38C55A31DB9E}" type="presParOf" srcId="{48C0553A-21F7-4315-8932-2C6015FF7017}" destId="{CAFE5248-D2A3-4037-B189-3F251702A79F}" srcOrd="0" destOrd="0" presId="urn:microsoft.com/office/officeart/2005/8/layout/orgChart1"/>
    <dgm:cxn modelId="{D88842AE-5E39-4957-9778-D9B4B02F01E9}" type="presParOf" srcId="{CAFE5248-D2A3-4037-B189-3F251702A79F}" destId="{C7BB2087-3735-4F69-9B29-10673586CDA7}" srcOrd="0" destOrd="0" presId="urn:microsoft.com/office/officeart/2005/8/layout/orgChart1"/>
    <dgm:cxn modelId="{45C2989C-48A5-4C6F-BDD2-19C0C4318032}" type="presParOf" srcId="{CAFE5248-D2A3-4037-B189-3F251702A79F}" destId="{DAE5AADB-39B2-4D5C-BEB3-3BBE42BDFF07}" srcOrd="1" destOrd="0" presId="urn:microsoft.com/office/officeart/2005/8/layout/orgChart1"/>
    <dgm:cxn modelId="{12567DA7-1179-4AD0-BB36-B81E30CB5978}" type="presParOf" srcId="{48C0553A-21F7-4315-8932-2C6015FF7017}" destId="{C36F9F59-56B5-4F98-8037-FB477CEAA5B7}" srcOrd="1" destOrd="0" presId="urn:microsoft.com/office/officeart/2005/8/layout/orgChart1"/>
    <dgm:cxn modelId="{08C8F061-1197-4E7B-BCAC-1573935AF8AB}" type="presParOf" srcId="{48C0553A-21F7-4315-8932-2C6015FF7017}" destId="{56B11A27-A847-4D26-BB3F-952A71EA2631}" srcOrd="2" destOrd="0" presId="urn:microsoft.com/office/officeart/2005/8/layout/orgChart1"/>
    <dgm:cxn modelId="{867166AB-0781-41D3-BD6C-565D48419C79}" type="presParOf" srcId="{DD82F826-9986-417E-BE47-549EB1B5DEB4}" destId="{76C6C112-09E8-4D5B-AD8A-D933CDDE12F0}" srcOrd="10" destOrd="0" presId="urn:microsoft.com/office/officeart/2005/8/layout/orgChart1"/>
    <dgm:cxn modelId="{35898A2D-20A6-413A-B369-8DA07AD8CE7C}" type="presParOf" srcId="{DD82F826-9986-417E-BE47-549EB1B5DEB4}" destId="{681380EB-9241-496F-928D-6B382164AA5C}" srcOrd="11" destOrd="0" presId="urn:microsoft.com/office/officeart/2005/8/layout/orgChart1"/>
    <dgm:cxn modelId="{CC0AA0A7-D404-4D91-B75F-845F10C664E4}" type="presParOf" srcId="{681380EB-9241-496F-928D-6B382164AA5C}" destId="{D7066825-F21D-4CF1-9FDF-10E69067709F}" srcOrd="0" destOrd="0" presId="urn:microsoft.com/office/officeart/2005/8/layout/orgChart1"/>
    <dgm:cxn modelId="{C9078F52-EB7C-4B09-B89C-8180D34A9934}" type="presParOf" srcId="{D7066825-F21D-4CF1-9FDF-10E69067709F}" destId="{4A0DE5C9-6458-4C4D-A72E-5A768F3D1724}" srcOrd="0" destOrd="0" presId="urn:microsoft.com/office/officeart/2005/8/layout/orgChart1"/>
    <dgm:cxn modelId="{DB18CCBD-BDAE-431B-BC75-652B005D6392}" type="presParOf" srcId="{D7066825-F21D-4CF1-9FDF-10E69067709F}" destId="{FDCF14E5-86EA-48C6-81D1-F4FC7DDDE386}" srcOrd="1" destOrd="0" presId="urn:microsoft.com/office/officeart/2005/8/layout/orgChart1"/>
    <dgm:cxn modelId="{3FBF5800-7436-41E5-8B39-FC7EACD522E4}" type="presParOf" srcId="{681380EB-9241-496F-928D-6B382164AA5C}" destId="{448BD2A2-F4B5-4F5D-B4F2-E24CBEBAEFCF}" srcOrd="1" destOrd="0" presId="urn:microsoft.com/office/officeart/2005/8/layout/orgChart1"/>
    <dgm:cxn modelId="{FC581CD7-1551-44DA-8AB4-658A69D9C644}" type="presParOf" srcId="{681380EB-9241-496F-928D-6B382164AA5C}" destId="{9F4BC11F-273C-4FE2-AC8B-C7F2E5B955C3}" srcOrd="2" destOrd="0" presId="urn:microsoft.com/office/officeart/2005/8/layout/orgChart1"/>
    <dgm:cxn modelId="{DE873A8D-0943-4368-97BB-C9BDF50C4B9E}" type="presParOf" srcId="{0E149003-7EA8-4C52-841A-FEC5931354D5}" destId="{C36B2C3E-81B8-47C5-A599-2BF5556D4FD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9BD9B5-B446-43E6-B7D1-7628E9A86371}">
      <dsp:nvSpPr>
        <dsp:cNvPr id="0" name=""/>
        <dsp:cNvSpPr/>
      </dsp:nvSpPr>
      <dsp:spPr>
        <a:xfrm>
          <a:off x="113109" y="2754229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ttribute/Signal</a:t>
          </a:r>
          <a:endParaRPr lang="en-US" sz="1400" kern="1200" dirty="0"/>
        </a:p>
      </dsp:txBody>
      <dsp:txXfrm>
        <a:off x="130642" y="2771762"/>
        <a:ext cx="1162173" cy="563553"/>
      </dsp:txXfrm>
    </dsp:sp>
    <dsp:sp modelId="{313A9F36-111B-4408-8C13-325CD731C95B}">
      <dsp:nvSpPr>
        <dsp:cNvPr id="0" name=""/>
        <dsp:cNvSpPr/>
      </dsp:nvSpPr>
      <dsp:spPr>
        <a:xfrm rot="16983315">
          <a:off x="489778" y="2010978"/>
          <a:ext cx="212003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2120035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496795" y="1967919"/>
        <a:ext cx="106001" cy="106001"/>
      </dsp:txXfrm>
    </dsp:sp>
    <dsp:sp modelId="{05949F13-62F3-4FB4-B509-C9BF9DC0EE43}">
      <dsp:nvSpPr>
        <dsp:cNvPr id="0" name=""/>
        <dsp:cNvSpPr/>
      </dsp:nvSpPr>
      <dsp:spPr>
        <a:xfrm>
          <a:off x="1789244" y="688991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ody</a:t>
          </a:r>
          <a:endParaRPr lang="en-US" sz="1400" kern="1200" dirty="0"/>
        </a:p>
      </dsp:txBody>
      <dsp:txXfrm>
        <a:off x="1806777" y="706524"/>
        <a:ext cx="1162173" cy="563553"/>
      </dsp:txXfrm>
    </dsp:sp>
    <dsp:sp modelId="{6A6F1CB7-84B8-4C7B-BDD3-5B58F77F88A8}">
      <dsp:nvSpPr>
        <dsp:cNvPr id="0" name=""/>
        <dsp:cNvSpPr/>
      </dsp:nvSpPr>
      <dsp:spPr>
        <a:xfrm rot="19457599">
          <a:off x="2931051" y="806255"/>
          <a:ext cx="58976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9762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211188" y="801454"/>
        <a:ext cx="29488" cy="29488"/>
      </dsp:txXfrm>
    </dsp:sp>
    <dsp:sp modelId="{98636BD4-AB27-44DA-BBE2-C3CEB98689A0}">
      <dsp:nvSpPr>
        <dsp:cNvPr id="0" name=""/>
        <dsp:cNvSpPr/>
      </dsp:nvSpPr>
      <dsp:spPr>
        <a:xfrm>
          <a:off x="3465380" y="344785"/>
          <a:ext cx="1197239" cy="598619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dk1"/>
          </a:solidFill>
          <a:prstDash val="solid"/>
        </a:ln>
        <a:effectLst/>
      </dsp:spPr>
      <dsp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Weight</a:t>
          </a:r>
          <a:endParaRPr lang="en-US" sz="1400" kern="1200" dirty="0"/>
        </a:p>
      </dsp:txBody>
      <dsp:txXfrm>
        <a:off x="3482913" y="362318"/>
        <a:ext cx="1162173" cy="563553"/>
      </dsp:txXfrm>
    </dsp:sp>
    <dsp:sp modelId="{A5E66EB8-4B43-4E85-A186-D937854DCAFE}">
      <dsp:nvSpPr>
        <dsp:cNvPr id="0" name=""/>
        <dsp:cNvSpPr/>
      </dsp:nvSpPr>
      <dsp:spPr>
        <a:xfrm rot="2142401">
          <a:off x="2931051" y="1150462"/>
          <a:ext cx="58976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9762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3211188" y="1145660"/>
        <a:ext cx="29488" cy="29488"/>
      </dsp:txXfrm>
    </dsp:sp>
    <dsp:sp modelId="{D2AF2FA8-5A70-4160-A0E0-16E025A39C3D}">
      <dsp:nvSpPr>
        <dsp:cNvPr id="0" name=""/>
        <dsp:cNvSpPr/>
      </dsp:nvSpPr>
      <dsp:spPr>
        <a:xfrm>
          <a:off x="3465380" y="1033197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Raindetection</a:t>
          </a:r>
          <a:endParaRPr lang="en-US" sz="1400" kern="1200" dirty="0"/>
        </a:p>
      </dsp:txBody>
      <dsp:txXfrm>
        <a:off x="3482913" y="1050730"/>
        <a:ext cx="1162173" cy="563553"/>
      </dsp:txXfrm>
    </dsp:sp>
    <dsp:sp modelId="{F754FB1D-6E01-4228-99F6-C61F026C48A3}">
      <dsp:nvSpPr>
        <dsp:cNvPr id="0" name=""/>
        <dsp:cNvSpPr/>
      </dsp:nvSpPr>
      <dsp:spPr>
        <a:xfrm>
          <a:off x="4662619" y="1322565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4890095" y="1320535"/>
        <a:ext cx="23944" cy="23944"/>
      </dsp:txXfrm>
    </dsp:sp>
    <dsp:sp modelId="{DE4225F7-D1CC-48FF-9F4F-069CE45BF482}">
      <dsp:nvSpPr>
        <dsp:cNvPr id="0" name=""/>
        <dsp:cNvSpPr/>
      </dsp:nvSpPr>
      <dsp:spPr>
        <a:xfrm>
          <a:off x="5141515" y="1033197"/>
          <a:ext cx="1197239" cy="598619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ntensity</a:t>
          </a:r>
          <a:endParaRPr lang="en-US" sz="1400" kern="1200" dirty="0"/>
        </a:p>
      </dsp:txBody>
      <dsp:txXfrm>
        <a:off x="5159048" y="1050730"/>
        <a:ext cx="1162173" cy="563553"/>
      </dsp:txXfrm>
    </dsp:sp>
    <dsp:sp modelId="{8ECD308B-7AAB-4C85-A50C-B0B7A8F13B22}">
      <dsp:nvSpPr>
        <dsp:cNvPr id="0" name=""/>
        <dsp:cNvSpPr/>
      </dsp:nvSpPr>
      <dsp:spPr>
        <a:xfrm rot="17692822">
          <a:off x="6009071" y="806255"/>
          <a:ext cx="1138263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138263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549746" y="787741"/>
        <a:ext cx="56913" cy="56913"/>
      </dsp:txXfrm>
    </dsp:sp>
    <dsp:sp modelId="{EDDFBDDB-CA5A-48E6-9D15-B84F0FEC47A5}">
      <dsp:nvSpPr>
        <dsp:cNvPr id="0" name=""/>
        <dsp:cNvSpPr/>
      </dsp:nvSpPr>
      <dsp:spPr>
        <a:xfrm>
          <a:off x="6817651" y="578"/>
          <a:ext cx="1197239" cy="59861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Type: UInt8</a:t>
          </a:r>
          <a:endParaRPr lang="en-US" sz="1400" kern="1200" dirty="0"/>
        </a:p>
      </dsp:txBody>
      <dsp:txXfrm>
        <a:off x="6835184" y="18111"/>
        <a:ext cx="1162173" cy="563553"/>
      </dsp:txXfrm>
    </dsp:sp>
    <dsp:sp modelId="{EDDD4B04-4FE5-4D4E-B2AD-7C173781E94D}">
      <dsp:nvSpPr>
        <dsp:cNvPr id="0" name=""/>
        <dsp:cNvSpPr/>
      </dsp:nvSpPr>
      <dsp:spPr>
        <a:xfrm rot="19457599">
          <a:off x="6283322" y="1150462"/>
          <a:ext cx="58976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9762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563459" y="1145660"/>
        <a:ext cx="29488" cy="29488"/>
      </dsp:txXfrm>
    </dsp:sp>
    <dsp:sp modelId="{AB603FEE-3208-4FA5-854A-A077B2FDFFF7}">
      <dsp:nvSpPr>
        <dsp:cNvPr id="0" name=""/>
        <dsp:cNvSpPr/>
      </dsp:nvSpPr>
      <dsp:spPr>
        <a:xfrm>
          <a:off x="6817651" y="688991"/>
          <a:ext cx="1197239" cy="59861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Unit: percent</a:t>
          </a:r>
          <a:endParaRPr lang="en-US" sz="1400" kern="1200" dirty="0"/>
        </a:p>
      </dsp:txBody>
      <dsp:txXfrm>
        <a:off x="6835184" y="706524"/>
        <a:ext cx="1162173" cy="563553"/>
      </dsp:txXfrm>
    </dsp:sp>
    <dsp:sp modelId="{4DFD3A24-F5B6-4A0E-A196-D29DF883BA24}">
      <dsp:nvSpPr>
        <dsp:cNvPr id="0" name=""/>
        <dsp:cNvSpPr/>
      </dsp:nvSpPr>
      <dsp:spPr>
        <a:xfrm rot="2142401">
          <a:off x="6283322" y="1494668"/>
          <a:ext cx="58976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589762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563459" y="1489867"/>
        <a:ext cx="29488" cy="29488"/>
      </dsp:txXfrm>
    </dsp:sp>
    <dsp:sp modelId="{718F5C4D-5A41-4E50-BF0D-D36146603A62}">
      <dsp:nvSpPr>
        <dsp:cNvPr id="0" name=""/>
        <dsp:cNvSpPr/>
      </dsp:nvSpPr>
      <dsp:spPr>
        <a:xfrm>
          <a:off x="6817651" y="1377404"/>
          <a:ext cx="1197239" cy="59861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scription: “…”</a:t>
          </a:r>
          <a:endParaRPr lang="en-US" sz="1400" kern="1200" dirty="0"/>
        </a:p>
      </dsp:txBody>
      <dsp:txXfrm>
        <a:off x="6835184" y="1394937"/>
        <a:ext cx="1162173" cy="563553"/>
      </dsp:txXfrm>
    </dsp:sp>
    <dsp:sp modelId="{D1BD8B13-2A06-4F03-A666-96B7E107C7F3}">
      <dsp:nvSpPr>
        <dsp:cNvPr id="0" name=""/>
        <dsp:cNvSpPr/>
      </dsp:nvSpPr>
      <dsp:spPr>
        <a:xfrm rot="3907178">
          <a:off x="6009071" y="1838874"/>
          <a:ext cx="1138263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138263" y="994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6549746" y="1820360"/>
        <a:ext cx="56913" cy="56913"/>
      </dsp:txXfrm>
    </dsp:sp>
    <dsp:sp modelId="{D3E296CA-5154-4688-B45B-589EEA447826}">
      <dsp:nvSpPr>
        <dsp:cNvPr id="0" name=""/>
        <dsp:cNvSpPr/>
      </dsp:nvSpPr>
      <dsp:spPr>
        <a:xfrm>
          <a:off x="6817651" y="2065817"/>
          <a:ext cx="1197239" cy="598619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alue: restriction or free</a:t>
          </a:r>
          <a:endParaRPr lang="en-US" sz="1400" kern="1200" dirty="0"/>
        </a:p>
      </dsp:txBody>
      <dsp:txXfrm>
        <a:off x="6835184" y="2083350"/>
        <a:ext cx="1162173" cy="563553"/>
      </dsp:txXfrm>
    </dsp:sp>
    <dsp:sp modelId="{B3B39737-1BDC-4395-994D-FABCDCF81B69}">
      <dsp:nvSpPr>
        <dsp:cNvPr id="0" name=""/>
        <dsp:cNvSpPr/>
      </dsp:nvSpPr>
      <dsp:spPr>
        <a:xfrm rot="17350740">
          <a:off x="820929" y="2355184"/>
          <a:ext cx="1457734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457734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513353" y="2328683"/>
        <a:ext cx="72886" cy="72886"/>
      </dsp:txXfrm>
    </dsp:sp>
    <dsp:sp modelId="{EC7C50D7-A6D9-49C8-BAD9-E503CC5EA2C6}">
      <dsp:nvSpPr>
        <dsp:cNvPr id="0" name=""/>
        <dsp:cNvSpPr/>
      </dsp:nvSpPr>
      <dsp:spPr>
        <a:xfrm>
          <a:off x="1789244" y="1377404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DAS</a:t>
          </a:r>
          <a:endParaRPr lang="en-US" sz="1400" kern="1200" dirty="0"/>
        </a:p>
      </dsp:txBody>
      <dsp:txXfrm>
        <a:off x="1806777" y="1394937"/>
        <a:ext cx="1162173" cy="563553"/>
      </dsp:txXfrm>
    </dsp:sp>
    <dsp:sp modelId="{D09021CE-4B50-4A51-A7FD-0B1AD1678429}">
      <dsp:nvSpPr>
        <dsp:cNvPr id="0" name=""/>
        <dsp:cNvSpPr/>
      </dsp:nvSpPr>
      <dsp:spPr>
        <a:xfrm rot="18289469">
          <a:off x="1130495" y="2699390"/>
          <a:ext cx="83860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838602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528831" y="2688368"/>
        <a:ext cx="41930" cy="41930"/>
      </dsp:txXfrm>
    </dsp:sp>
    <dsp:sp modelId="{868F4EAA-4373-402C-ADD9-2A6778958421}">
      <dsp:nvSpPr>
        <dsp:cNvPr id="0" name=""/>
        <dsp:cNvSpPr/>
      </dsp:nvSpPr>
      <dsp:spPr>
        <a:xfrm>
          <a:off x="1789244" y="2065817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abin</a:t>
          </a:r>
          <a:endParaRPr lang="en-US" sz="1400" kern="1200" dirty="0"/>
        </a:p>
      </dsp:txBody>
      <dsp:txXfrm>
        <a:off x="1806777" y="2083350"/>
        <a:ext cx="1162173" cy="563553"/>
      </dsp:txXfrm>
    </dsp:sp>
    <dsp:sp modelId="{170E8B10-0A59-4A99-8518-F6D9F4D4A22A}">
      <dsp:nvSpPr>
        <dsp:cNvPr id="0" name=""/>
        <dsp:cNvSpPr/>
      </dsp:nvSpPr>
      <dsp:spPr>
        <a:xfrm>
          <a:off x="1310348" y="3043597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537824" y="3041567"/>
        <a:ext cx="23944" cy="23944"/>
      </dsp:txXfrm>
    </dsp:sp>
    <dsp:sp modelId="{A2949E4D-A81D-4A07-B249-D07A2B0112F1}">
      <dsp:nvSpPr>
        <dsp:cNvPr id="0" name=""/>
        <dsp:cNvSpPr/>
      </dsp:nvSpPr>
      <dsp:spPr>
        <a:xfrm>
          <a:off x="1789244" y="2754229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hassis</a:t>
          </a:r>
          <a:endParaRPr lang="en-US" sz="1400" kern="1200" dirty="0"/>
        </a:p>
      </dsp:txBody>
      <dsp:txXfrm>
        <a:off x="1806777" y="2771762"/>
        <a:ext cx="1162173" cy="563553"/>
      </dsp:txXfrm>
    </dsp:sp>
    <dsp:sp modelId="{BF8BBBC6-ABCA-4EBB-93A9-C6001ABB01A6}">
      <dsp:nvSpPr>
        <dsp:cNvPr id="0" name=""/>
        <dsp:cNvSpPr/>
      </dsp:nvSpPr>
      <dsp:spPr>
        <a:xfrm rot="3310531">
          <a:off x="1130495" y="3387803"/>
          <a:ext cx="83860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838602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528831" y="3376781"/>
        <a:ext cx="41930" cy="41930"/>
      </dsp:txXfrm>
    </dsp:sp>
    <dsp:sp modelId="{935D3211-CAC3-4AB4-9EA8-635BF67B552B}">
      <dsp:nvSpPr>
        <dsp:cNvPr id="0" name=""/>
        <dsp:cNvSpPr/>
      </dsp:nvSpPr>
      <dsp:spPr>
        <a:xfrm>
          <a:off x="1789244" y="3442642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rivetrain</a:t>
          </a:r>
          <a:endParaRPr lang="en-US" sz="1400" kern="1200" dirty="0"/>
        </a:p>
      </dsp:txBody>
      <dsp:txXfrm>
        <a:off x="1806777" y="3460175"/>
        <a:ext cx="1162173" cy="563553"/>
      </dsp:txXfrm>
    </dsp:sp>
    <dsp:sp modelId="{8BB0ABBD-B982-4B78-A37D-AEA2903DDD08}">
      <dsp:nvSpPr>
        <dsp:cNvPr id="0" name=""/>
        <dsp:cNvSpPr/>
      </dsp:nvSpPr>
      <dsp:spPr>
        <a:xfrm rot="4249260">
          <a:off x="820929" y="3732010"/>
          <a:ext cx="1457734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457734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513353" y="3705509"/>
        <a:ext cx="72886" cy="72886"/>
      </dsp:txXfrm>
    </dsp:sp>
    <dsp:sp modelId="{D7D51632-0E69-4CD5-85E5-3F1EC5A05DDC}">
      <dsp:nvSpPr>
        <dsp:cNvPr id="0" name=""/>
        <dsp:cNvSpPr/>
      </dsp:nvSpPr>
      <dsp:spPr>
        <a:xfrm>
          <a:off x="1789244" y="4131055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OBD</a:t>
          </a:r>
          <a:endParaRPr lang="en-US" sz="1400" kern="1200" dirty="0"/>
        </a:p>
      </dsp:txBody>
      <dsp:txXfrm>
        <a:off x="1806777" y="4148588"/>
        <a:ext cx="1162173" cy="563553"/>
      </dsp:txXfrm>
    </dsp:sp>
    <dsp:sp modelId="{1D2B3DAA-8B11-4391-9849-EB53BDC896C9}">
      <dsp:nvSpPr>
        <dsp:cNvPr id="0" name=""/>
        <dsp:cNvSpPr/>
      </dsp:nvSpPr>
      <dsp:spPr>
        <a:xfrm rot="4616685">
          <a:off x="489778" y="4076216"/>
          <a:ext cx="212003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2120035" y="994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496795" y="4033158"/>
        <a:ext cx="106001" cy="106001"/>
      </dsp:txXfrm>
    </dsp:sp>
    <dsp:sp modelId="{A111C5AB-C51B-4ABF-9515-19ADCC287F17}">
      <dsp:nvSpPr>
        <dsp:cNvPr id="0" name=""/>
        <dsp:cNvSpPr/>
      </dsp:nvSpPr>
      <dsp:spPr>
        <a:xfrm>
          <a:off x="1789244" y="4819468"/>
          <a:ext cx="1197239" cy="59861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ehicle</a:t>
          </a:r>
          <a:endParaRPr lang="en-US" sz="1400" kern="1200" dirty="0"/>
        </a:p>
      </dsp:txBody>
      <dsp:txXfrm>
        <a:off x="1806777" y="4837001"/>
        <a:ext cx="1162173" cy="5635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F3EE31-0384-4577-906E-76AC42F8BB25}">
      <dsp:nvSpPr>
        <dsp:cNvPr id="0" name=""/>
        <dsp:cNvSpPr/>
      </dsp:nvSpPr>
      <dsp:spPr>
        <a:xfrm>
          <a:off x="2459289" y="594732"/>
          <a:ext cx="1540374" cy="34346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4758"/>
              </a:lnTo>
              <a:lnTo>
                <a:pt x="1540374" y="204758"/>
              </a:lnTo>
              <a:lnTo>
                <a:pt x="1540374" y="3434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92710-FE1E-4FF9-B776-3DFCF17F65AF}">
      <dsp:nvSpPr>
        <dsp:cNvPr id="0" name=""/>
        <dsp:cNvSpPr/>
      </dsp:nvSpPr>
      <dsp:spPr>
        <a:xfrm>
          <a:off x="2413569" y="594732"/>
          <a:ext cx="91440" cy="3434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34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EB037B-17F3-420F-BC79-B5593FE565C9}">
      <dsp:nvSpPr>
        <dsp:cNvPr id="0" name=""/>
        <dsp:cNvSpPr/>
      </dsp:nvSpPr>
      <dsp:spPr>
        <a:xfrm>
          <a:off x="873194" y="2470580"/>
          <a:ext cx="91440" cy="3434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346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3DFCE0-7047-4341-BFDF-EFE14743AC60}">
      <dsp:nvSpPr>
        <dsp:cNvPr id="0" name=""/>
        <dsp:cNvSpPr/>
      </dsp:nvSpPr>
      <dsp:spPr>
        <a:xfrm>
          <a:off x="873194" y="1532656"/>
          <a:ext cx="91440" cy="34346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3465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E3C7C-536D-4A02-883C-915D928CB6F9}">
      <dsp:nvSpPr>
        <dsp:cNvPr id="0" name=""/>
        <dsp:cNvSpPr/>
      </dsp:nvSpPr>
      <dsp:spPr>
        <a:xfrm>
          <a:off x="918914" y="594732"/>
          <a:ext cx="1540374" cy="343465"/>
        </a:xfrm>
        <a:custGeom>
          <a:avLst/>
          <a:gdLst/>
          <a:ahLst/>
          <a:cxnLst/>
          <a:rect l="0" t="0" r="0" b="0"/>
          <a:pathLst>
            <a:path>
              <a:moveTo>
                <a:pt x="1540374" y="0"/>
              </a:moveTo>
              <a:lnTo>
                <a:pt x="1540374" y="204758"/>
              </a:lnTo>
              <a:lnTo>
                <a:pt x="0" y="204758"/>
              </a:lnTo>
              <a:lnTo>
                <a:pt x="0" y="34346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9396DE-4BC8-4DD5-A4F4-A2E3DF862D89}">
      <dsp:nvSpPr>
        <dsp:cNvPr id="0" name=""/>
        <dsp:cNvSpPr/>
      </dsp:nvSpPr>
      <dsp:spPr>
        <a:xfrm>
          <a:off x="1885216" y="272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3885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ttribute</a:t>
          </a:r>
          <a:endParaRPr lang="en-US" sz="1400" kern="1200" dirty="0"/>
        </a:p>
      </dsp:txBody>
      <dsp:txXfrm>
        <a:off x="1885216" y="272"/>
        <a:ext cx="1148145" cy="594459"/>
      </dsp:txXfrm>
    </dsp:sp>
    <dsp:sp modelId="{9612EBEE-C49E-4842-BE92-B4FB1F31EA49}">
      <dsp:nvSpPr>
        <dsp:cNvPr id="0" name=""/>
        <dsp:cNvSpPr/>
      </dsp:nvSpPr>
      <dsp:spPr>
        <a:xfrm>
          <a:off x="2114845" y="462630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ranch</a:t>
          </a:r>
          <a:endParaRPr lang="en-US" sz="1300" kern="1200" dirty="0"/>
        </a:p>
      </dsp:txBody>
      <dsp:txXfrm>
        <a:off x="2114845" y="462630"/>
        <a:ext cx="1033331" cy="198153"/>
      </dsp:txXfrm>
    </dsp:sp>
    <dsp:sp modelId="{1AD1E644-3FD8-417E-82B8-0BAF464C1A1A}">
      <dsp:nvSpPr>
        <dsp:cNvPr id="0" name=""/>
        <dsp:cNvSpPr/>
      </dsp:nvSpPr>
      <dsp:spPr>
        <a:xfrm>
          <a:off x="344842" y="938197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3885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ehicle</a:t>
          </a:r>
          <a:endParaRPr lang="en-US" sz="1400" kern="1200" dirty="0"/>
        </a:p>
      </dsp:txBody>
      <dsp:txXfrm>
        <a:off x="344842" y="938197"/>
        <a:ext cx="1148145" cy="594459"/>
      </dsp:txXfrm>
    </dsp:sp>
    <dsp:sp modelId="{82EB87DA-1A26-4090-AD1E-2DE64651FD06}">
      <dsp:nvSpPr>
        <dsp:cNvPr id="0" name=""/>
        <dsp:cNvSpPr/>
      </dsp:nvSpPr>
      <dsp:spPr>
        <a:xfrm>
          <a:off x="574471" y="1400554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ranch</a:t>
          </a:r>
          <a:endParaRPr lang="en-US" sz="1300" kern="1200" dirty="0"/>
        </a:p>
      </dsp:txBody>
      <dsp:txXfrm>
        <a:off x="574471" y="1400554"/>
        <a:ext cx="1033331" cy="198153"/>
      </dsp:txXfrm>
    </dsp:sp>
    <dsp:sp modelId="{F368093F-5616-4787-BBE1-7502D1A81C55}">
      <dsp:nvSpPr>
        <dsp:cNvPr id="0" name=""/>
        <dsp:cNvSpPr/>
      </dsp:nvSpPr>
      <dsp:spPr>
        <a:xfrm>
          <a:off x="344842" y="1876121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838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 smtClean="0"/>
            <a:t>VehicleIdentification</a:t>
          </a:r>
          <a:endParaRPr lang="en-US" sz="1100" kern="1200" dirty="0"/>
        </a:p>
      </dsp:txBody>
      <dsp:txXfrm>
        <a:off x="344842" y="1876121"/>
        <a:ext cx="1148145" cy="594459"/>
      </dsp:txXfrm>
    </dsp:sp>
    <dsp:sp modelId="{1F1F3A79-5C32-42BF-A074-35B2DBEAA21A}">
      <dsp:nvSpPr>
        <dsp:cNvPr id="0" name=""/>
        <dsp:cNvSpPr/>
      </dsp:nvSpPr>
      <dsp:spPr>
        <a:xfrm>
          <a:off x="574471" y="2338478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ranch</a:t>
          </a:r>
          <a:endParaRPr lang="en-US" sz="1300" kern="1200" dirty="0"/>
        </a:p>
      </dsp:txBody>
      <dsp:txXfrm>
        <a:off x="574471" y="2338478"/>
        <a:ext cx="1033331" cy="198153"/>
      </dsp:txXfrm>
    </dsp:sp>
    <dsp:sp modelId="{19B87749-5CF6-4060-B150-AC5737AF283E}">
      <dsp:nvSpPr>
        <dsp:cNvPr id="0" name=""/>
        <dsp:cNvSpPr/>
      </dsp:nvSpPr>
      <dsp:spPr>
        <a:xfrm>
          <a:off x="344842" y="2814045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3885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VIN</a:t>
          </a:r>
          <a:endParaRPr lang="en-US" sz="1400" kern="1200" dirty="0"/>
        </a:p>
      </dsp:txBody>
      <dsp:txXfrm>
        <a:off x="344842" y="2814045"/>
        <a:ext cx="1148145" cy="594459"/>
      </dsp:txXfrm>
    </dsp:sp>
    <dsp:sp modelId="{2AE71185-86DD-4FDE-8A3E-1D027FBEDC6D}">
      <dsp:nvSpPr>
        <dsp:cNvPr id="0" name=""/>
        <dsp:cNvSpPr/>
      </dsp:nvSpPr>
      <dsp:spPr>
        <a:xfrm>
          <a:off x="574471" y="3276402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>
              <a:solidFill>
                <a:srgbClr val="FF0000"/>
              </a:solidFill>
            </a:rPr>
            <a:t>Attribute</a:t>
          </a:r>
          <a:endParaRPr lang="en-US" sz="1300" kern="1200" dirty="0">
            <a:solidFill>
              <a:srgbClr val="FF0000"/>
            </a:solidFill>
          </a:endParaRPr>
        </a:p>
      </dsp:txBody>
      <dsp:txXfrm>
        <a:off x="574471" y="3276402"/>
        <a:ext cx="1033331" cy="198153"/>
      </dsp:txXfrm>
    </dsp:sp>
    <dsp:sp modelId="{4D0584A6-6242-460F-9334-D770546A688B}">
      <dsp:nvSpPr>
        <dsp:cNvPr id="0" name=""/>
        <dsp:cNvSpPr/>
      </dsp:nvSpPr>
      <dsp:spPr>
        <a:xfrm>
          <a:off x="1885216" y="938197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3885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Body</a:t>
          </a:r>
          <a:endParaRPr lang="en-US" sz="1400" kern="1200" dirty="0"/>
        </a:p>
      </dsp:txBody>
      <dsp:txXfrm>
        <a:off x="1885216" y="938197"/>
        <a:ext cx="1148145" cy="594459"/>
      </dsp:txXfrm>
    </dsp:sp>
    <dsp:sp modelId="{CFC074AB-9141-41C7-8E99-10BE29ADB71C}">
      <dsp:nvSpPr>
        <dsp:cNvPr id="0" name=""/>
        <dsp:cNvSpPr/>
      </dsp:nvSpPr>
      <dsp:spPr>
        <a:xfrm>
          <a:off x="2114845" y="1400554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ranch</a:t>
          </a:r>
          <a:endParaRPr lang="en-US" sz="1300" kern="1200" dirty="0"/>
        </a:p>
      </dsp:txBody>
      <dsp:txXfrm>
        <a:off x="2114845" y="1400554"/>
        <a:ext cx="1033331" cy="198153"/>
      </dsp:txXfrm>
    </dsp:sp>
    <dsp:sp modelId="{2CC925CE-74FD-47A6-AC86-7AF2809D692E}">
      <dsp:nvSpPr>
        <dsp:cNvPr id="0" name=""/>
        <dsp:cNvSpPr/>
      </dsp:nvSpPr>
      <dsp:spPr>
        <a:xfrm>
          <a:off x="3425591" y="938197"/>
          <a:ext cx="1148145" cy="5944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3885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rivetrain</a:t>
          </a:r>
          <a:endParaRPr lang="en-US" sz="1400" kern="1200" dirty="0"/>
        </a:p>
      </dsp:txBody>
      <dsp:txXfrm>
        <a:off x="3425591" y="938197"/>
        <a:ext cx="1148145" cy="594459"/>
      </dsp:txXfrm>
    </dsp:sp>
    <dsp:sp modelId="{928E1D97-6078-4449-BD97-CF417BDD7499}">
      <dsp:nvSpPr>
        <dsp:cNvPr id="0" name=""/>
        <dsp:cNvSpPr/>
      </dsp:nvSpPr>
      <dsp:spPr>
        <a:xfrm>
          <a:off x="3655220" y="1400554"/>
          <a:ext cx="1033331" cy="19815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8255" rIns="33020" bIns="8255" numCol="1" spcCol="1270" anchor="ctr" anchorCtr="0">
          <a:noAutofit/>
        </a:bodyPr>
        <a:lstStyle/>
        <a:p>
          <a:pPr lvl="0" algn="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Branch</a:t>
          </a:r>
          <a:endParaRPr lang="en-US" sz="1300" kern="1200" dirty="0"/>
        </a:p>
      </dsp:txBody>
      <dsp:txXfrm>
        <a:off x="3655220" y="1400554"/>
        <a:ext cx="1033331" cy="1981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23258D-429F-4181-A521-66EC125FC48D}">
      <dsp:nvSpPr>
        <dsp:cNvPr id="0" name=""/>
        <dsp:cNvSpPr/>
      </dsp:nvSpPr>
      <dsp:spPr>
        <a:xfrm>
          <a:off x="4155696" y="2037562"/>
          <a:ext cx="91440" cy="39019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019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4A256F-926E-4588-878F-5DF6D1157658}">
      <dsp:nvSpPr>
        <dsp:cNvPr id="0" name=""/>
        <dsp:cNvSpPr/>
      </dsp:nvSpPr>
      <dsp:spPr>
        <a:xfrm>
          <a:off x="2451479" y="972036"/>
          <a:ext cx="1749937" cy="3901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2614"/>
              </a:lnTo>
              <a:lnTo>
                <a:pt x="1749937" y="232614"/>
              </a:lnTo>
              <a:lnTo>
                <a:pt x="1749937" y="3901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F3EE31-0384-4577-906E-76AC42F8BB25}">
      <dsp:nvSpPr>
        <dsp:cNvPr id="0" name=""/>
        <dsp:cNvSpPr/>
      </dsp:nvSpPr>
      <dsp:spPr>
        <a:xfrm>
          <a:off x="2405759" y="972036"/>
          <a:ext cx="91440" cy="39019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01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692710-FE1E-4FF9-B776-3DFCF17F65AF}">
      <dsp:nvSpPr>
        <dsp:cNvPr id="0" name=""/>
        <dsp:cNvSpPr/>
      </dsp:nvSpPr>
      <dsp:spPr>
        <a:xfrm>
          <a:off x="701542" y="972036"/>
          <a:ext cx="1749937" cy="390192"/>
        </a:xfrm>
        <a:custGeom>
          <a:avLst/>
          <a:gdLst/>
          <a:ahLst/>
          <a:cxnLst/>
          <a:rect l="0" t="0" r="0" b="0"/>
          <a:pathLst>
            <a:path>
              <a:moveTo>
                <a:pt x="1749937" y="0"/>
              </a:moveTo>
              <a:lnTo>
                <a:pt x="1749937" y="232614"/>
              </a:lnTo>
              <a:lnTo>
                <a:pt x="0" y="232614"/>
              </a:lnTo>
              <a:lnTo>
                <a:pt x="0" y="39019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9396DE-4BC8-4DD5-A4F4-A2E3DF862D89}">
      <dsp:nvSpPr>
        <dsp:cNvPr id="0" name=""/>
        <dsp:cNvSpPr/>
      </dsp:nvSpPr>
      <dsp:spPr>
        <a:xfrm>
          <a:off x="1799306" y="296703"/>
          <a:ext cx="1304347" cy="6753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95297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ignal</a:t>
          </a:r>
          <a:endParaRPr lang="en-US" sz="1800" kern="1200" dirty="0"/>
        </a:p>
      </dsp:txBody>
      <dsp:txXfrm>
        <a:off x="1799306" y="296703"/>
        <a:ext cx="1304347" cy="675333"/>
      </dsp:txXfrm>
    </dsp:sp>
    <dsp:sp modelId="{9612EBEE-C49E-4842-BE92-B4FB1F31EA49}">
      <dsp:nvSpPr>
        <dsp:cNvPr id="0" name=""/>
        <dsp:cNvSpPr/>
      </dsp:nvSpPr>
      <dsp:spPr>
        <a:xfrm>
          <a:off x="2060175" y="821962"/>
          <a:ext cx="1173912" cy="22511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2060175" y="821962"/>
        <a:ext cx="1173912" cy="225111"/>
      </dsp:txXfrm>
    </dsp:sp>
    <dsp:sp modelId="{4D0584A6-6242-460F-9334-D770546A688B}">
      <dsp:nvSpPr>
        <dsp:cNvPr id="0" name=""/>
        <dsp:cNvSpPr/>
      </dsp:nvSpPr>
      <dsp:spPr>
        <a:xfrm>
          <a:off x="49368" y="1362229"/>
          <a:ext cx="1304347" cy="6753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95297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Body</a:t>
          </a:r>
          <a:endParaRPr lang="en-US" sz="1800" kern="1200" dirty="0"/>
        </a:p>
      </dsp:txBody>
      <dsp:txXfrm>
        <a:off x="49368" y="1362229"/>
        <a:ext cx="1304347" cy="675333"/>
      </dsp:txXfrm>
    </dsp:sp>
    <dsp:sp modelId="{CFC074AB-9141-41C7-8E99-10BE29ADB71C}">
      <dsp:nvSpPr>
        <dsp:cNvPr id="0" name=""/>
        <dsp:cNvSpPr/>
      </dsp:nvSpPr>
      <dsp:spPr>
        <a:xfrm>
          <a:off x="310238" y="1887488"/>
          <a:ext cx="1173912" cy="22511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310238" y="1887488"/>
        <a:ext cx="1173912" cy="225111"/>
      </dsp:txXfrm>
    </dsp:sp>
    <dsp:sp modelId="{2CC925CE-74FD-47A6-AC86-7AF2809D692E}">
      <dsp:nvSpPr>
        <dsp:cNvPr id="0" name=""/>
        <dsp:cNvSpPr/>
      </dsp:nvSpPr>
      <dsp:spPr>
        <a:xfrm>
          <a:off x="1799306" y="1362229"/>
          <a:ext cx="1304347" cy="6753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95297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rivetrain</a:t>
          </a:r>
          <a:endParaRPr lang="en-US" sz="1800" kern="1200" dirty="0"/>
        </a:p>
      </dsp:txBody>
      <dsp:txXfrm>
        <a:off x="1799306" y="1362229"/>
        <a:ext cx="1304347" cy="675333"/>
      </dsp:txXfrm>
    </dsp:sp>
    <dsp:sp modelId="{928E1D97-6078-4449-BD97-CF417BDD7499}">
      <dsp:nvSpPr>
        <dsp:cNvPr id="0" name=""/>
        <dsp:cNvSpPr/>
      </dsp:nvSpPr>
      <dsp:spPr>
        <a:xfrm>
          <a:off x="2060175" y="1887488"/>
          <a:ext cx="1173912" cy="22511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2060175" y="1887488"/>
        <a:ext cx="1173912" cy="225111"/>
      </dsp:txXfrm>
    </dsp:sp>
    <dsp:sp modelId="{A9BBA439-6D3C-4C26-9DE5-AA7D6BE9DAA8}">
      <dsp:nvSpPr>
        <dsp:cNvPr id="0" name=""/>
        <dsp:cNvSpPr/>
      </dsp:nvSpPr>
      <dsp:spPr>
        <a:xfrm>
          <a:off x="3549243" y="1362229"/>
          <a:ext cx="1304347" cy="6753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95297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/>
            <a:t>Vehicle</a:t>
          </a:r>
          <a:endParaRPr lang="en-US" sz="1800" kern="1200" dirty="0"/>
        </a:p>
      </dsp:txBody>
      <dsp:txXfrm>
        <a:off x="3549243" y="1362229"/>
        <a:ext cx="1304347" cy="675333"/>
      </dsp:txXfrm>
    </dsp:sp>
    <dsp:sp modelId="{17F1EEE2-4AC0-4A71-A4BE-3BC1D4E2CD96}">
      <dsp:nvSpPr>
        <dsp:cNvPr id="0" name=""/>
        <dsp:cNvSpPr/>
      </dsp:nvSpPr>
      <dsp:spPr>
        <a:xfrm>
          <a:off x="3810112" y="1887488"/>
          <a:ext cx="1173912" cy="22511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3810112" y="1887488"/>
        <a:ext cx="1173912" cy="225111"/>
      </dsp:txXfrm>
    </dsp:sp>
    <dsp:sp modelId="{14E39A6B-97B6-45A8-A7A7-89F1E8B8EF2B}">
      <dsp:nvSpPr>
        <dsp:cNvPr id="0" name=""/>
        <dsp:cNvSpPr/>
      </dsp:nvSpPr>
      <dsp:spPr>
        <a:xfrm>
          <a:off x="3549243" y="2427755"/>
          <a:ext cx="1304347" cy="6753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95297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err="1" smtClean="0"/>
            <a:t>AverageSpeed</a:t>
          </a:r>
          <a:endParaRPr lang="en-US" sz="1800" kern="1200" dirty="0"/>
        </a:p>
      </dsp:txBody>
      <dsp:txXfrm>
        <a:off x="3549243" y="2427755"/>
        <a:ext cx="1304347" cy="675333"/>
      </dsp:txXfrm>
    </dsp:sp>
    <dsp:sp modelId="{0329A14B-D15E-4659-89D2-00B3E8FAFA67}">
      <dsp:nvSpPr>
        <dsp:cNvPr id="0" name=""/>
        <dsp:cNvSpPr/>
      </dsp:nvSpPr>
      <dsp:spPr>
        <a:xfrm>
          <a:off x="3810112" y="2953014"/>
          <a:ext cx="1173912" cy="22511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solidFill>
                <a:srgbClr val="FF0000"/>
              </a:solidFill>
            </a:rPr>
            <a:t>Signal</a:t>
          </a:r>
          <a:endParaRPr lang="en-US" sz="1500" kern="1200" dirty="0">
            <a:solidFill>
              <a:srgbClr val="FF0000"/>
            </a:solidFill>
          </a:endParaRPr>
        </a:p>
      </dsp:txBody>
      <dsp:txXfrm>
        <a:off x="3810112" y="2953014"/>
        <a:ext cx="1173912" cy="2251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692710-FE1E-4FF9-B776-3DFCF17F65AF}">
      <dsp:nvSpPr>
        <dsp:cNvPr id="0" name=""/>
        <dsp:cNvSpPr/>
      </dsp:nvSpPr>
      <dsp:spPr>
        <a:xfrm>
          <a:off x="2111927" y="675382"/>
          <a:ext cx="872273" cy="3889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1898"/>
              </a:lnTo>
              <a:lnTo>
                <a:pt x="872273" y="231898"/>
              </a:lnTo>
              <a:lnTo>
                <a:pt x="872273" y="3889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3DFCE0-7047-4341-BFDF-EFE14743AC60}">
      <dsp:nvSpPr>
        <dsp:cNvPr id="0" name=""/>
        <dsp:cNvSpPr/>
      </dsp:nvSpPr>
      <dsp:spPr>
        <a:xfrm>
          <a:off x="1193933" y="1737625"/>
          <a:ext cx="91440" cy="38899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8899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E3C7C-536D-4A02-883C-915D928CB6F9}">
      <dsp:nvSpPr>
        <dsp:cNvPr id="0" name=""/>
        <dsp:cNvSpPr/>
      </dsp:nvSpPr>
      <dsp:spPr>
        <a:xfrm>
          <a:off x="1239653" y="675382"/>
          <a:ext cx="872273" cy="388990"/>
        </a:xfrm>
        <a:custGeom>
          <a:avLst/>
          <a:gdLst/>
          <a:ahLst/>
          <a:cxnLst/>
          <a:rect l="0" t="0" r="0" b="0"/>
          <a:pathLst>
            <a:path>
              <a:moveTo>
                <a:pt x="872273" y="0"/>
              </a:moveTo>
              <a:lnTo>
                <a:pt x="872273" y="231898"/>
              </a:lnTo>
              <a:lnTo>
                <a:pt x="0" y="231898"/>
              </a:lnTo>
              <a:lnTo>
                <a:pt x="0" y="38899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9396DE-4BC8-4DD5-A4F4-A2E3DF862D89}">
      <dsp:nvSpPr>
        <dsp:cNvPr id="0" name=""/>
        <dsp:cNvSpPr/>
      </dsp:nvSpPr>
      <dsp:spPr>
        <a:xfrm>
          <a:off x="1461762" y="2129"/>
          <a:ext cx="1300329" cy="6732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95003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Private</a:t>
          </a:r>
          <a:endParaRPr lang="en-US" sz="2000" kern="1200" dirty="0"/>
        </a:p>
      </dsp:txBody>
      <dsp:txXfrm>
        <a:off x="1461762" y="2129"/>
        <a:ext cx="1300329" cy="673252"/>
      </dsp:txXfrm>
    </dsp:sp>
    <dsp:sp modelId="{9612EBEE-C49E-4842-BE92-B4FB1F31EA49}">
      <dsp:nvSpPr>
        <dsp:cNvPr id="0" name=""/>
        <dsp:cNvSpPr/>
      </dsp:nvSpPr>
      <dsp:spPr>
        <a:xfrm>
          <a:off x="1721828" y="525770"/>
          <a:ext cx="1170296" cy="2244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1721828" y="525770"/>
        <a:ext cx="1170296" cy="224417"/>
      </dsp:txXfrm>
    </dsp:sp>
    <dsp:sp modelId="{1AD1E644-3FD8-417E-82B8-0BAF464C1A1A}">
      <dsp:nvSpPr>
        <dsp:cNvPr id="0" name=""/>
        <dsp:cNvSpPr/>
      </dsp:nvSpPr>
      <dsp:spPr>
        <a:xfrm>
          <a:off x="589489" y="1064372"/>
          <a:ext cx="1300329" cy="6732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95003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BMW</a:t>
          </a:r>
          <a:endParaRPr lang="en-US" sz="2000" kern="1200" dirty="0"/>
        </a:p>
      </dsp:txBody>
      <dsp:txXfrm>
        <a:off x="589489" y="1064372"/>
        <a:ext cx="1300329" cy="673252"/>
      </dsp:txXfrm>
    </dsp:sp>
    <dsp:sp modelId="{82EB87DA-1A26-4090-AD1E-2DE64651FD06}">
      <dsp:nvSpPr>
        <dsp:cNvPr id="0" name=""/>
        <dsp:cNvSpPr/>
      </dsp:nvSpPr>
      <dsp:spPr>
        <a:xfrm>
          <a:off x="849555" y="1588013"/>
          <a:ext cx="1170296" cy="2244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849555" y="1588013"/>
        <a:ext cx="1170296" cy="224417"/>
      </dsp:txXfrm>
    </dsp:sp>
    <dsp:sp modelId="{F368093F-5616-4787-BBE1-7502D1A81C55}">
      <dsp:nvSpPr>
        <dsp:cNvPr id="0" name=""/>
        <dsp:cNvSpPr/>
      </dsp:nvSpPr>
      <dsp:spPr>
        <a:xfrm>
          <a:off x="589489" y="2126615"/>
          <a:ext cx="1300329" cy="6732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95003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 smtClean="0"/>
            <a:t>PrivateSignal</a:t>
          </a:r>
          <a:endParaRPr lang="en-US" sz="2000" kern="1200" dirty="0"/>
        </a:p>
      </dsp:txBody>
      <dsp:txXfrm>
        <a:off x="589489" y="2126615"/>
        <a:ext cx="1300329" cy="673252"/>
      </dsp:txXfrm>
    </dsp:sp>
    <dsp:sp modelId="{1F1F3A79-5C32-42BF-A074-35B2DBEAA21A}">
      <dsp:nvSpPr>
        <dsp:cNvPr id="0" name=""/>
        <dsp:cNvSpPr/>
      </dsp:nvSpPr>
      <dsp:spPr>
        <a:xfrm>
          <a:off x="849555" y="2650256"/>
          <a:ext cx="1170296" cy="2244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solidFill>
                <a:srgbClr val="FF0000"/>
              </a:solidFill>
            </a:rPr>
            <a:t>??</a:t>
          </a:r>
          <a:endParaRPr lang="en-US" sz="1500" kern="1200" dirty="0">
            <a:solidFill>
              <a:srgbClr val="FF0000"/>
            </a:solidFill>
          </a:endParaRPr>
        </a:p>
      </dsp:txBody>
      <dsp:txXfrm>
        <a:off x="849555" y="2650256"/>
        <a:ext cx="1170296" cy="224417"/>
      </dsp:txXfrm>
    </dsp:sp>
    <dsp:sp modelId="{4D0584A6-6242-460F-9334-D770546A688B}">
      <dsp:nvSpPr>
        <dsp:cNvPr id="0" name=""/>
        <dsp:cNvSpPr/>
      </dsp:nvSpPr>
      <dsp:spPr>
        <a:xfrm>
          <a:off x="2334035" y="1064372"/>
          <a:ext cx="1300329" cy="67325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95003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HMI</a:t>
          </a:r>
          <a:endParaRPr lang="en-US" sz="2000" kern="1200" dirty="0"/>
        </a:p>
      </dsp:txBody>
      <dsp:txXfrm>
        <a:off x="2334035" y="1064372"/>
        <a:ext cx="1300329" cy="673252"/>
      </dsp:txXfrm>
    </dsp:sp>
    <dsp:sp modelId="{CFC074AB-9141-41C7-8E99-10BE29ADB71C}">
      <dsp:nvSpPr>
        <dsp:cNvPr id="0" name=""/>
        <dsp:cNvSpPr/>
      </dsp:nvSpPr>
      <dsp:spPr>
        <a:xfrm>
          <a:off x="2594101" y="1588013"/>
          <a:ext cx="1170296" cy="2244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9525" rIns="38100" bIns="9525" numCol="1" spcCol="1270" anchor="ctr" anchorCtr="0">
          <a:noAutofit/>
        </a:bodyPr>
        <a:lstStyle/>
        <a:p>
          <a:pPr lvl="0" algn="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ranch</a:t>
          </a:r>
          <a:endParaRPr lang="en-US" sz="1500" kern="1200" dirty="0"/>
        </a:p>
      </dsp:txBody>
      <dsp:txXfrm>
        <a:off x="2594101" y="1588013"/>
        <a:ext cx="1170296" cy="22441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4EC26A-C6AD-4729-ABA0-3ACBBA64707D}">
      <dsp:nvSpPr>
        <dsp:cNvPr id="0" name=""/>
        <dsp:cNvSpPr/>
      </dsp:nvSpPr>
      <dsp:spPr>
        <a:xfrm>
          <a:off x="4840902" y="2264389"/>
          <a:ext cx="4252615" cy="2460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009"/>
              </a:lnTo>
              <a:lnTo>
                <a:pt x="4252615" y="123009"/>
              </a:lnTo>
              <a:lnTo>
                <a:pt x="4252615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7E9CBB-8045-41FA-9C81-1382118CBA9A}">
      <dsp:nvSpPr>
        <dsp:cNvPr id="0" name=""/>
        <dsp:cNvSpPr/>
      </dsp:nvSpPr>
      <dsp:spPr>
        <a:xfrm>
          <a:off x="4840902" y="2264389"/>
          <a:ext cx="2835077" cy="2460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009"/>
              </a:lnTo>
              <a:lnTo>
                <a:pt x="2835077" y="123009"/>
              </a:lnTo>
              <a:lnTo>
                <a:pt x="2835077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D832A2-E4D5-457F-B935-02726E40521A}">
      <dsp:nvSpPr>
        <dsp:cNvPr id="0" name=""/>
        <dsp:cNvSpPr/>
      </dsp:nvSpPr>
      <dsp:spPr>
        <a:xfrm>
          <a:off x="4840902" y="2264389"/>
          <a:ext cx="1417538" cy="2460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3009"/>
              </a:lnTo>
              <a:lnTo>
                <a:pt x="1417538" y="123009"/>
              </a:lnTo>
              <a:lnTo>
                <a:pt x="1417538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0AAC12-3659-4B9A-8357-FE3E9D2818C3}">
      <dsp:nvSpPr>
        <dsp:cNvPr id="0" name=""/>
        <dsp:cNvSpPr/>
      </dsp:nvSpPr>
      <dsp:spPr>
        <a:xfrm>
          <a:off x="4795182" y="2264389"/>
          <a:ext cx="91440" cy="24601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6D9927-105B-4550-AB57-6ACED35F0539}">
      <dsp:nvSpPr>
        <dsp:cNvPr id="0" name=""/>
        <dsp:cNvSpPr/>
      </dsp:nvSpPr>
      <dsp:spPr>
        <a:xfrm>
          <a:off x="3423363" y="2264389"/>
          <a:ext cx="1417538" cy="246019"/>
        </a:xfrm>
        <a:custGeom>
          <a:avLst/>
          <a:gdLst/>
          <a:ahLst/>
          <a:cxnLst/>
          <a:rect l="0" t="0" r="0" b="0"/>
          <a:pathLst>
            <a:path>
              <a:moveTo>
                <a:pt x="1417538" y="0"/>
              </a:moveTo>
              <a:lnTo>
                <a:pt x="1417538" y="123009"/>
              </a:lnTo>
              <a:lnTo>
                <a:pt x="0" y="123009"/>
              </a:lnTo>
              <a:lnTo>
                <a:pt x="0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768A83-836E-4026-A78B-38C831358306}">
      <dsp:nvSpPr>
        <dsp:cNvPr id="0" name=""/>
        <dsp:cNvSpPr/>
      </dsp:nvSpPr>
      <dsp:spPr>
        <a:xfrm>
          <a:off x="2005824" y="2264389"/>
          <a:ext cx="2835077" cy="246019"/>
        </a:xfrm>
        <a:custGeom>
          <a:avLst/>
          <a:gdLst/>
          <a:ahLst/>
          <a:cxnLst/>
          <a:rect l="0" t="0" r="0" b="0"/>
          <a:pathLst>
            <a:path>
              <a:moveTo>
                <a:pt x="2835077" y="0"/>
              </a:moveTo>
              <a:lnTo>
                <a:pt x="2835077" y="123009"/>
              </a:lnTo>
              <a:lnTo>
                <a:pt x="0" y="123009"/>
              </a:lnTo>
              <a:lnTo>
                <a:pt x="0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703CDA-D3D5-4CBB-9076-173417D9B457}">
      <dsp:nvSpPr>
        <dsp:cNvPr id="0" name=""/>
        <dsp:cNvSpPr/>
      </dsp:nvSpPr>
      <dsp:spPr>
        <a:xfrm>
          <a:off x="588286" y="2264389"/>
          <a:ext cx="4252615" cy="246019"/>
        </a:xfrm>
        <a:custGeom>
          <a:avLst/>
          <a:gdLst/>
          <a:ahLst/>
          <a:cxnLst/>
          <a:rect l="0" t="0" r="0" b="0"/>
          <a:pathLst>
            <a:path>
              <a:moveTo>
                <a:pt x="4252615" y="0"/>
              </a:moveTo>
              <a:lnTo>
                <a:pt x="4252615" y="123009"/>
              </a:lnTo>
              <a:lnTo>
                <a:pt x="0" y="123009"/>
              </a:lnTo>
              <a:lnTo>
                <a:pt x="0" y="246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03B506-DF7D-4EDC-9CBB-838910818EB2}">
      <dsp:nvSpPr>
        <dsp:cNvPr id="0" name=""/>
        <dsp:cNvSpPr/>
      </dsp:nvSpPr>
      <dsp:spPr>
        <a:xfrm>
          <a:off x="4255142" y="1678630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Attribute/Signal</a:t>
          </a:r>
          <a:endParaRPr lang="en-US" sz="1500" kern="1200" dirty="0"/>
        </a:p>
      </dsp:txBody>
      <dsp:txXfrm>
        <a:off x="4255142" y="1678630"/>
        <a:ext cx="1171519" cy="585759"/>
      </dsp:txXfrm>
    </dsp:sp>
    <dsp:sp modelId="{FC9F55D5-578C-4FBE-80B2-894D2BA3D127}">
      <dsp:nvSpPr>
        <dsp:cNvPr id="0" name=""/>
        <dsp:cNvSpPr/>
      </dsp:nvSpPr>
      <dsp:spPr>
        <a:xfrm>
          <a:off x="2526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Body</a:t>
          </a:r>
          <a:endParaRPr lang="en-US" sz="1500" kern="1200" dirty="0"/>
        </a:p>
      </dsp:txBody>
      <dsp:txXfrm>
        <a:off x="2526" y="2510409"/>
        <a:ext cx="1171519" cy="585759"/>
      </dsp:txXfrm>
    </dsp:sp>
    <dsp:sp modelId="{1D8D751D-E1B0-4B0E-B84D-9060579A4972}">
      <dsp:nvSpPr>
        <dsp:cNvPr id="0" name=""/>
        <dsp:cNvSpPr/>
      </dsp:nvSpPr>
      <dsp:spPr>
        <a:xfrm>
          <a:off x="1420064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ADAS</a:t>
          </a:r>
          <a:endParaRPr lang="en-US" sz="1500" kern="1200" dirty="0"/>
        </a:p>
      </dsp:txBody>
      <dsp:txXfrm>
        <a:off x="1420064" y="2510409"/>
        <a:ext cx="1171519" cy="585759"/>
      </dsp:txXfrm>
    </dsp:sp>
    <dsp:sp modelId="{0E9FE36D-D70A-4493-9AF0-0183A3E068CE}">
      <dsp:nvSpPr>
        <dsp:cNvPr id="0" name=""/>
        <dsp:cNvSpPr/>
      </dsp:nvSpPr>
      <dsp:spPr>
        <a:xfrm>
          <a:off x="2837603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abin</a:t>
          </a:r>
          <a:endParaRPr lang="en-US" sz="1500" kern="1200" dirty="0"/>
        </a:p>
      </dsp:txBody>
      <dsp:txXfrm>
        <a:off x="2837603" y="2510409"/>
        <a:ext cx="1171519" cy="585759"/>
      </dsp:txXfrm>
    </dsp:sp>
    <dsp:sp modelId="{997DCFC3-DB93-48D2-A59C-2F1D93232EB0}">
      <dsp:nvSpPr>
        <dsp:cNvPr id="0" name=""/>
        <dsp:cNvSpPr/>
      </dsp:nvSpPr>
      <dsp:spPr>
        <a:xfrm>
          <a:off x="4255142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Chassis</a:t>
          </a:r>
          <a:endParaRPr lang="en-US" sz="1500" kern="1200" dirty="0"/>
        </a:p>
      </dsp:txBody>
      <dsp:txXfrm>
        <a:off x="4255142" y="2510409"/>
        <a:ext cx="1171519" cy="585759"/>
      </dsp:txXfrm>
    </dsp:sp>
    <dsp:sp modelId="{C7BB2087-3735-4F69-9B29-10673586CDA7}">
      <dsp:nvSpPr>
        <dsp:cNvPr id="0" name=""/>
        <dsp:cNvSpPr/>
      </dsp:nvSpPr>
      <dsp:spPr>
        <a:xfrm>
          <a:off x="5672680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Drivetrain</a:t>
          </a:r>
          <a:endParaRPr lang="en-US" sz="1500" kern="1200" dirty="0"/>
        </a:p>
      </dsp:txBody>
      <dsp:txXfrm>
        <a:off x="5672680" y="2510409"/>
        <a:ext cx="1171519" cy="585759"/>
      </dsp:txXfrm>
    </dsp:sp>
    <dsp:sp modelId="{71D0D559-5294-4883-A210-5092F16D5019}">
      <dsp:nvSpPr>
        <dsp:cNvPr id="0" name=""/>
        <dsp:cNvSpPr/>
      </dsp:nvSpPr>
      <dsp:spPr>
        <a:xfrm>
          <a:off x="7090219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OBD</a:t>
          </a:r>
          <a:endParaRPr lang="en-US" sz="1500" kern="1200" dirty="0"/>
        </a:p>
      </dsp:txBody>
      <dsp:txXfrm>
        <a:off x="7090219" y="2510409"/>
        <a:ext cx="1171519" cy="585759"/>
      </dsp:txXfrm>
    </dsp:sp>
    <dsp:sp modelId="{031B9965-C421-4386-96E5-353AAA520555}">
      <dsp:nvSpPr>
        <dsp:cNvPr id="0" name=""/>
        <dsp:cNvSpPr/>
      </dsp:nvSpPr>
      <dsp:spPr>
        <a:xfrm>
          <a:off x="8507758" y="2510409"/>
          <a:ext cx="1171519" cy="5857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Vehicle</a:t>
          </a:r>
          <a:endParaRPr lang="en-US" sz="1500" kern="1200" dirty="0"/>
        </a:p>
      </dsp:txBody>
      <dsp:txXfrm>
        <a:off x="8507758" y="2510409"/>
        <a:ext cx="1171519" cy="58575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C6C112-09E8-4D5B-AD8A-D933CDDE12F0}">
      <dsp:nvSpPr>
        <dsp:cNvPr id="0" name=""/>
        <dsp:cNvSpPr/>
      </dsp:nvSpPr>
      <dsp:spPr>
        <a:xfrm>
          <a:off x="4840902" y="2243293"/>
          <a:ext cx="4151618" cy="2882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105"/>
              </a:lnTo>
              <a:lnTo>
                <a:pt x="4151618" y="144105"/>
              </a:lnTo>
              <a:lnTo>
                <a:pt x="4151618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D832A2-E4D5-457F-B935-02726E40521A}">
      <dsp:nvSpPr>
        <dsp:cNvPr id="0" name=""/>
        <dsp:cNvSpPr/>
      </dsp:nvSpPr>
      <dsp:spPr>
        <a:xfrm>
          <a:off x="4840902" y="2243293"/>
          <a:ext cx="2490971" cy="2882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105"/>
              </a:lnTo>
              <a:lnTo>
                <a:pt x="2490971" y="144105"/>
              </a:lnTo>
              <a:lnTo>
                <a:pt x="2490971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0AAC12-3659-4B9A-8357-FE3E9D2818C3}">
      <dsp:nvSpPr>
        <dsp:cNvPr id="0" name=""/>
        <dsp:cNvSpPr/>
      </dsp:nvSpPr>
      <dsp:spPr>
        <a:xfrm>
          <a:off x="4840902" y="2243293"/>
          <a:ext cx="830323" cy="2882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4105"/>
              </a:lnTo>
              <a:lnTo>
                <a:pt x="830323" y="144105"/>
              </a:lnTo>
              <a:lnTo>
                <a:pt x="830323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6D9927-105B-4550-AB57-6ACED35F0539}">
      <dsp:nvSpPr>
        <dsp:cNvPr id="0" name=""/>
        <dsp:cNvSpPr/>
      </dsp:nvSpPr>
      <dsp:spPr>
        <a:xfrm>
          <a:off x="4010578" y="2243293"/>
          <a:ext cx="830323" cy="288211"/>
        </a:xfrm>
        <a:custGeom>
          <a:avLst/>
          <a:gdLst/>
          <a:ahLst/>
          <a:cxnLst/>
          <a:rect l="0" t="0" r="0" b="0"/>
          <a:pathLst>
            <a:path>
              <a:moveTo>
                <a:pt x="830323" y="0"/>
              </a:moveTo>
              <a:lnTo>
                <a:pt x="830323" y="144105"/>
              </a:lnTo>
              <a:lnTo>
                <a:pt x="0" y="144105"/>
              </a:lnTo>
              <a:lnTo>
                <a:pt x="0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768A83-836E-4026-A78B-38C831358306}">
      <dsp:nvSpPr>
        <dsp:cNvPr id="0" name=""/>
        <dsp:cNvSpPr/>
      </dsp:nvSpPr>
      <dsp:spPr>
        <a:xfrm>
          <a:off x="2349930" y="2243293"/>
          <a:ext cx="2490971" cy="288211"/>
        </a:xfrm>
        <a:custGeom>
          <a:avLst/>
          <a:gdLst/>
          <a:ahLst/>
          <a:cxnLst/>
          <a:rect l="0" t="0" r="0" b="0"/>
          <a:pathLst>
            <a:path>
              <a:moveTo>
                <a:pt x="2490971" y="0"/>
              </a:moveTo>
              <a:lnTo>
                <a:pt x="2490971" y="144105"/>
              </a:lnTo>
              <a:lnTo>
                <a:pt x="0" y="144105"/>
              </a:lnTo>
              <a:lnTo>
                <a:pt x="0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703CDA-D3D5-4CBB-9076-173417D9B457}">
      <dsp:nvSpPr>
        <dsp:cNvPr id="0" name=""/>
        <dsp:cNvSpPr/>
      </dsp:nvSpPr>
      <dsp:spPr>
        <a:xfrm>
          <a:off x="689283" y="2243293"/>
          <a:ext cx="4151618" cy="288211"/>
        </a:xfrm>
        <a:custGeom>
          <a:avLst/>
          <a:gdLst/>
          <a:ahLst/>
          <a:cxnLst/>
          <a:rect l="0" t="0" r="0" b="0"/>
          <a:pathLst>
            <a:path>
              <a:moveTo>
                <a:pt x="4151618" y="0"/>
              </a:moveTo>
              <a:lnTo>
                <a:pt x="4151618" y="144105"/>
              </a:lnTo>
              <a:lnTo>
                <a:pt x="0" y="144105"/>
              </a:lnTo>
              <a:lnTo>
                <a:pt x="0" y="28821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03B506-DF7D-4EDC-9CBB-838910818EB2}">
      <dsp:nvSpPr>
        <dsp:cNvPr id="0" name=""/>
        <dsp:cNvSpPr/>
      </dsp:nvSpPr>
      <dsp:spPr>
        <a:xfrm>
          <a:off x="4154684" y="155707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Vehicle</a:t>
          </a:r>
          <a:endParaRPr lang="en-US" sz="2800" kern="1200" dirty="0"/>
        </a:p>
      </dsp:txBody>
      <dsp:txXfrm>
        <a:off x="4154684" y="1557075"/>
        <a:ext cx="1372435" cy="686217"/>
      </dsp:txXfrm>
    </dsp:sp>
    <dsp:sp modelId="{FC9F55D5-578C-4FBE-80B2-894D2BA3D127}">
      <dsp:nvSpPr>
        <dsp:cNvPr id="0" name=""/>
        <dsp:cNvSpPr/>
      </dsp:nvSpPr>
      <dsp:spPr>
        <a:xfrm>
          <a:off x="3065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Body</a:t>
          </a:r>
          <a:endParaRPr lang="en-US" sz="2800" kern="1200" dirty="0"/>
        </a:p>
      </dsp:txBody>
      <dsp:txXfrm>
        <a:off x="3065" y="2531505"/>
        <a:ext cx="1372435" cy="686217"/>
      </dsp:txXfrm>
    </dsp:sp>
    <dsp:sp modelId="{1D8D751D-E1B0-4B0E-B84D-9060579A4972}">
      <dsp:nvSpPr>
        <dsp:cNvPr id="0" name=""/>
        <dsp:cNvSpPr/>
      </dsp:nvSpPr>
      <dsp:spPr>
        <a:xfrm>
          <a:off x="1663712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ADAS</a:t>
          </a:r>
          <a:endParaRPr lang="en-US" sz="2800" kern="1200" dirty="0"/>
        </a:p>
      </dsp:txBody>
      <dsp:txXfrm>
        <a:off x="1663712" y="2531505"/>
        <a:ext cx="1372435" cy="686217"/>
      </dsp:txXfrm>
    </dsp:sp>
    <dsp:sp modelId="{0E9FE36D-D70A-4493-9AF0-0183A3E068CE}">
      <dsp:nvSpPr>
        <dsp:cNvPr id="0" name=""/>
        <dsp:cNvSpPr/>
      </dsp:nvSpPr>
      <dsp:spPr>
        <a:xfrm>
          <a:off x="3324360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Cabin</a:t>
          </a:r>
          <a:endParaRPr lang="en-US" sz="2800" kern="1200" dirty="0"/>
        </a:p>
      </dsp:txBody>
      <dsp:txXfrm>
        <a:off x="3324360" y="2531505"/>
        <a:ext cx="1372435" cy="686217"/>
      </dsp:txXfrm>
    </dsp:sp>
    <dsp:sp modelId="{997DCFC3-DB93-48D2-A59C-2F1D93232EB0}">
      <dsp:nvSpPr>
        <dsp:cNvPr id="0" name=""/>
        <dsp:cNvSpPr/>
      </dsp:nvSpPr>
      <dsp:spPr>
        <a:xfrm>
          <a:off x="4985007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Chassis</a:t>
          </a:r>
          <a:endParaRPr lang="en-US" sz="2800" kern="1200" dirty="0"/>
        </a:p>
      </dsp:txBody>
      <dsp:txXfrm>
        <a:off x="4985007" y="2531505"/>
        <a:ext cx="1372435" cy="686217"/>
      </dsp:txXfrm>
    </dsp:sp>
    <dsp:sp modelId="{C7BB2087-3735-4F69-9B29-10673586CDA7}">
      <dsp:nvSpPr>
        <dsp:cNvPr id="0" name=""/>
        <dsp:cNvSpPr/>
      </dsp:nvSpPr>
      <dsp:spPr>
        <a:xfrm>
          <a:off x="6645655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Drivetrain</a:t>
          </a:r>
          <a:endParaRPr lang="en-US" sz="2800" kern="1200" dirty="0"/>
        </a:p>
      </dsp:txBody>
      <dsp:txXfrm>
        <a:off x="6645655" y="2531505"/>
        <a:ext cx="1372435" cy="686217"/>
      </dsp:txXfrm>
    </dsp:sp>
    <dsp:sp modelId="{4A0DE5C9-6458-4C4D-A72E-5A768F3D1724}">
      <dsp:nvSpPr>
        <dsp:cNvPr id="0" name=""/>
        <dsp:cNvSpPr/>
      </dsp:nvSpPr>
      <dsp:spPr>
        <a:xfrm>
          <a:off x="8306302" y="2531505"/>
          <a:ext cx="1372435" cy="68621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D</a:t>
          </a:r>
          <a:endParaRPr lang="en-US" sz="2800" kern="1200" dirty="0"/>
        </a:p>
      </dsp:txBody>
      <dsp:txXfrm>
        <a:off x="8306302" y="2531505"/>
        <a:ext cx="1372435" cy="6862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6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6"/>
          <p:cNvSpPr>
            <a:spLocks noGrp="1"/>
          </p:cNvSpPr>
          <p:nvPr>
            <p:ph type="pic" sz="quarter" idx="19"/>
          </p:nvPr>
        </p:nvSpPr>
        <p:spPr>
          <a:xfrm>
            <a:off x="-9843" y="-6669"/>
            <a:ext cx="12204066" cy="6868059"/>
          </a:xfrm>
          <a:custGeom>
            <a:avLst/>
            <a:gdLst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0 w 9144000"/>
              <a:gd name="connsiteY6" fmla="*/ 5159495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190500 w 9144000"/>
              <a:gd name="connsiteY6" fmla="*/ 4493539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5242841 w 9144000"/>
              <a:gd name="connsiteY5" fmla="*/ 6246576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3891 w 9144000"/>
              <a:gd name="connsiteY5" fmla="*/ 562818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71516 w 9144000"/>
              <a:gd name="connsiteY5" fmla="*/ 5818461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19166 w 9144000"/>
              <a:gd name="connsiteY5" fmla="*/ 5847002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300116 w 9144000"/>
              <a:gd name="connsiteY5" fmla="*/ 5942139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584729 w 9144000"/>
              <a:gd name="connsiteY3" fmla="*/ 6849836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49836"/>
              <a:gd name="connsiteX1" fmla="*/ 9144000 w 9144000"/>
              <a:gd name="connsiteY1" fmla="*/ 0 h 6849836"/>
              <a:gd name="connsiteX2" fmla="*/ 9144000 w 9144000"/>
              <a:gd name="connsiteY2" fmla="*/ 4928377 h 6849836"/>
              <a:gd name="connsiteX3" fmla="*/ 3894012 w 9144000"/>
              <a:gd name="connsiteY3" fmla="*/ 6818497 h 6849836"/>
              <a:gd name="connsiteX4" fmla="*/ 3500070 w 9144000"/>
              <a:gd name="connsiteY4" fmla="*/ 6849836 h 6849836"/>
              <a:gd name="connsiteX5" fmla="*/ 6022210 w 9144000"/>
              <a:gd name="connsiteY5" fmla="*/ 5928708 h 6849836"/>
              <a:gd name="connsiteX6" fmla="*/ 9525 w 9144000"/>
              <a:gd name="connsiteY6" fmla="*/ 4769436 h 6849836"/>
              <a:gd name="connsiteX7" fmla="*/ 0 w 9144000"/>
              <a:gd name="connsiteY7" fmla="*/ 0 h 6849836"/>
              <a:gd name="connsiteX0" fmla="*/ 0 w 9144000"/>
              <a:gd name="connsiteY0" fmla="*/ 0 h 6818497"/>
              <a:gd name="connsiteX1" fmla="*/ 9144000 w 9144000"/>
              <a:gd name="connsiteY1" fmla="*/ 0 h 6818497"/>
              <a:gd name="connsiteX2" fmla="*/ 9144000 w 9144000"/>
              <a:gd name="connsiteY2" fmla="*/ 4928377 h 6818497"/>
              <a:gd name="connsiteX3" fmla="*/ 3894012 w 9144000"/>
              <a:gd name="connsiteY3" fmla="*/ 6818497 h 6818497"/>
              <a:gd name="connsiteX4" fmla="*/ 3701776 w 9144000"/>
              <a:gd name="connsiteY4" fmla="*/ 6702094 h 6818497"/>
              <a:gd name="connsiteX5" fmla="*/ 6022210 w 9144000"/>
              <a:gd name="connsiteY5" fmla="*/ 5928708 h 6818497"/>
              <a:gd name="connsiteX6" fmla="*/ 9525 w 9144000"/>
              <a:gd name="connsiteY6" fmla="*/ 4769436 h 6818497"/>
              <a:gd name="connsiteX7" fmla="*/ 0 w 9144000"/>
              <a:gd name="connsiteY7" fmla="*/ 0 h 6818497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928377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18498"/>
              <a:gd name="connsiteX1" fmla="*/ 9144000 w 9144000"/>
              <a:gd name="connsiteY1" fmla="*/ 0 h 6818498"/>
              <a:gd name="connsiteX2" fmla="*/ 9144000 w 9144000"/>
              <a:gd name="connsiteY2" fmla="*/ 4842754 h 6818498"/>
              <a:gd name="connsiteX3" fmla="*/ 3894012 w 9144000"/>
              <a:gd name="connsiteY3" fmla="*/ 6818497 h 6818498"/>
              <a:gd name="connsiteX4" fmla="*/ 3688329 w 9144000"/>
              <a:gd name="connsiteY4" fmla="*/ 6818498 h 6818498"/>
              <a:gd name="connsiteX5" fmla="*/ 6022210 w 9144000"/>
              <a:gd name="connsiteY5" fmla="*/ 5928708 h 6818498"/>
              <a:gd name="connsiteX6" fmla="*/ 9525 w 9144000"/>
              <a:gd name="connsiteY6" fmla="*/ 4769436 h 6818498"/>
              <a:gd name="connsiteX7" fmla="*/ 0 w 9144000"/>
              <a:gd name="connsiteY7" fmla="*/ 0 h 6818498"/>
              <a:gd name="connsiteX0" fmla="*/ 0 w 9144000"/>
              <a:gd name="connsiteY0" fmla="*/ 0 h 6847039"/>
              <a:gd name="connsiteX1" fmla="*/ 9144000 w 9144000"/>
              <a:gd name="connsiteY1" fmla="*/ 28541 h 6847039"/>
              <a:gd name="connsiteX2" fmla="*/ 9144000 w 9144000"/>
              <a:gd name="connsiteY2" fmla="*/ 4871295 h 6847039"/>
              <a:gd name="connsiteX3" fmla="*/ 3894012 w 9144000"/>
              <a:gd name="connsiteY3" fmla="*/ 6847038 h 6847039"/>
              <a:gd name="connsiteX4" fmla="*/ 3688329 w 9144000"/>
              <a:gd name="connsiteY4" fmla="*/ 6847039 h 6847039"/>
              <a:gd name="connsiteX5" fmla="*/ 6022210 w 9144000"/>
              <a:gd name="connsiteY5" fmla="*/ 5957249 h 6847039"/>
              <a:gd name="connsiteX6" fmla="*/ 9525 w 9144000"/>
              <a:gd name="connsiteY6" fmla="*/ 4797977 h 6847039"/>
              <a:gd name="connsiteX7" fmla="*/ 0 w 9144000"/>
              <a:gd name="connsiteY7" fmla="*/ 0 h 6847039"/>
              <a:gd name="connsiteX0" fmla="*/ 0 w 9144000"/>
              <a:gd name="connsiteY0" fmla="*/ 9514 h 6856553"/>
              <a:gd name="connsiteX1" fmla="*/ 9134475 w 9144000"/>
              <a:gd name="connsiteY1" fmla="*/ 0 h 6856553"/>
              <a:gd name="connsiteX2" fmla="*/ 9144000 w 9144000"/>
              <a:gd name="connsiteY2" fmla="*/ 4880809 h 6856553"/>
              <a:gd name="connsiteX3" fmla="*/ 3894012 w 9144000"/>
              <a:gd name="connsiteY3" fmla="*/ 6856552 h 6856553"/>
              <a:gd name="connsiteX4" fmla="*/ 3688329 w 9144000"/>
              <a:gd name="connsiteY4" fmla="*/ 6856553 h 6856553"/>
              <a:gd name="connsiteX5" fmla="*/ 6022210 w 9144000"/>
              <a:gd name="connsiteY5" fmla="*/ 5966763 h 6856553"/>
              <a:gd name="connsiteX6" fmla="*/ 9525 w 9144000"/>
              <a:gd name="connsiteY6" fmla="*/ 4807491 h 6856553"/>
              <a:gd name="connsiteX7" fmla="*/ 0 w 9144000"/>
              <a:gd name="connsiteY7" fmla="*/ 9514 h 6856553"/>
              <a:gd name="connsiteX0" fmla="*/ 3810 w 9147810"/>
              <a:gd name="connsiteY0" fmla="*/ 9514 h 6856553"/>
              <a:gd name="connsiteX1" fmla="*/ 9138285 w 9147810"/>
              <a:gd name="connsiteY1" fmla="*/ 0 h 6856553"/>
              <a:gd name="connsiteX2" fmla="*/ 9147810 w 9147810"/>
              <a:gd name="connsiteY2" fmla="*/ 4880809 h 6856553"/>
              <a:gd name="connsiteX3" fmla="*/ 3897822 w 9147810"/>
              <a:gd name="connsiteY3" fmla="*/ 6856552 h 6856553"/>
              <a:gd name="connsiteX4" fmla="*/ 3692139 w 9147810"/>
              <a:gd name="connsiteY4" fmla="*/ 6856553 h 6856553"/>
              <a:gd name="connsiteX5" fmla="*/ 6026020 w 9147810"/>
              <a:gd name="connsiteY5" fmla="*/ 5966763 h 6856553"/>
              <a:gd name="connsiteX6" fmla="*/ 0 w 9147810"/>
              <a:gd name="connsiteY6" fmla="*/ 4807491 h 6856553"/>
              <a:gd name="connsiteX7" fmla="*/ 3810 w 9147810"/>
              <a:gd name="connsiteY7" fmla="*/ 9514 h 6856553"/>
              <a:gd name="connsiteX0" fmla="*/ 3810 w 9147810"/>
              <a:gd name="connsiteY0" fmla="*/ 11417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11417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6026020 w 9147810"/>
              <a:gd name="connsiteY5" fmla="*/ 5968666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882712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4806088 w 9147810"/>
              <a:gd name="connsiteY5" fmla="*/ 624090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83046 w 9147810"/>
              <a:gd name="connsiteY5" fmla="*/ 6381413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5190077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809394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3897822 w 9147810"/>
              <a:gd name="connsiteY3" fmla="*/ 6858455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3692139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099333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58456"/>
              <a:gd name="connsiteX1" fmla="*/ 9145905 w 9147810"/>
              <a:gd name="connsiteY1" fmla="*/ 0 h 6858456"/>
              <a:gd name="connsiteX2" fmla="*/ 9147810 w 9147810"/>
              <a:gd name="connsiteY2" fmla="*/ 4615799 h 6858456"/>
              <a:gd name="connsiteX3" fmla="*/ 4726497 w 9147810"/>
              <a:gd name="connsiteY3" fmla="*/ 6848941 h 6858456"/>
              <a:gd name="connsiteX4" fmla="*/ 4120115 w 9147810"/>
              <a:gd name="connsiteY4" fmla="*/ 6858456 h 6858456"/>
              <a:gd name="connsiteX5" fmla="*/ 5096494 w 9147810"/>
              <a:gd name="connsiteY5" fmla="*/ 6381414 h 6858456"/>
              <a:gd name="connsiteX6" fmla="*/ 0 w 9147810"/>
              <a:gd name="connsiteY6" fmla="*/ 4976248 h 6858456"/>
              <a:gd name="connsiteX7" fmla="*/ 3810 w 9147810"/>
              <a:gd name="connsiteY7" fmla="*/ 3806 h 6858456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58456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780"/>
              <a:gd name="connsiteX1" fmla="*/ 9145905 w 9147810"/>
              <a:gd name="connsiteY1" fmla="*/ 0 h 6862780"/>
              <a:gd name="connsiteX2" fmla="*/ 9147810 w 9147810"/>
              <a:gd name="connsiteY2" fmla="*/ 4615799 h 6862780"/>
              <a:gd name="connsiteX3" fmla="*/ 4300470 w 9147810"/>
              <a:gd name="connsiteY3" fmla="*/ 6862780 h 6862780"/>
              <a:gd name="connsiteX4" fmla="*/ 4120115 w 9147810"/>
              <a:gd name="connsiteY4" fmla="*/ 6862262 h 6862780"/>
              <a:gd name="connsiteX5" fmla="*/ 5096494 w 9147810"/>
              <a:gd name="connsiteY5" fmla="*/ 6381414 h 6862780"/>
              <a:gd name="connsiteX6" fmla="*/ 0 w 9147810"/>
              <a:gd name="connsiteY6" fmla="*/ 4976248 h 6862780"/>
              <a:gd name="connsiteX7" fmla="*/ 3810 w 9147810"/>
              <a:gd name="connsiteY7" fmla="*/ 3806 h 6862780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096494 w 9147810"/>
              <a:gd name="connsiteY5" fmla="*/ 6381414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76248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59600 h 6862262"/>
              <a:gd name="connsiteX7" fmla="*/ 3810 w 9147810"/>
              <a:gd name="connsiteY7" fmla="*/ 3806 h 6862262"/>
              <a:gd name="connsiteX0" fmla="*/ 3810 w 9147810"/>
              <a:gd name="connsiteY0" fmla="*/ 3806 h 6862262"/>
              <a:gd name="connsiteX1" fmla="*/ 9145905 w 9147810"/>
              <a:gd name="connsiteY1" fmla="*/ 0 h 6862262"/>
              <a:gd name="connsiteX2" fmla="*/ 9147810 w 9147810"/>
              <a:gd name="connsiteY2" fmla="*/ 4615799 h 6862262"/>
              <a:gd name="connsiteX3" fmla="*/ 4300470 w 9147810"/>
              <a:gd name="connsiteY3" fmla="*/ 6858975 h 6862262"/>
              <a:gd name="connsiteX4" fmla="*/ 4120115 w 9147810"/>
              <a:gd name="connsiteY4" fmla="*/ 6862262 h 6862262"/>
              <a:gd name="connsiteX5" fmla="*/ 5175076 w 9147810"/>
              <a:gd name="connsiteY5" fmla="*/ 6398063 h 6862262"/>
              <a:gd name="connsiteX6" fmla="*/ 0 w 9147810"/>
              <a:gd name="connsiteY6" fmla="*/ 4961979 h 6862262"/>
              <a:gd name="connsiteX7" fmla="*/ 3810 w 9147810"/>
              <a:gd name="connsiteY7" fmla="*/ 3806 h 6862262"/>
              <a:gd name="connsiteX0" fmla="*/ 3810 w 9147810"/>
              <a:gd name="connsiteY0" fmla="*/ 3806 h 6858975"/>
              <a:gd name="connsiteX1" fmla="*/ 9145905 w 9147810"/>
              <a:gd name="connsiteY1" fmla="*/ 0 h 6858975"/>
              <a:gd name="connsiteX2" fmla="*/ 9147810 w 9147810"/>
              <a:gd name="connsiteY2" fmla="*/ 4615799 h 6858975"/>
              <a:gd name="connsiteX3" fmla="*/ 4300470 w 9147810"/>
              <a:gd name="connsiteY3" fmla="*/ 6858975 h 6858975"/>
              <a:gd name="connsiteX4" fmla="*/ 4186195 w 9147810"/>
              <a:gd name="connsiteY4" fmla="*/ 6855127 h 6858975"/>
              <a:gd name="connsiteX5" fmla="*/ 5175076 w 9147810"/>
              <a:gd name="connsiteY5" fmla="*/ 6398063 h 6858975"/>
              <a:gd name="connsiteX6" fmla="*/ 0 w 9147810"/>
              <a:gd name="connsiteY6" fmla="*/ 4961979 h 6858975"/>
              <a:gd name="connsiteX7" fmla="*/ 3810 w 9147810"/>
              <a:gd name="connsiteY7" fmla="*/ 3806 h 6858975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300470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5076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80435 w 9147810"/>
              <a:gd name="connsiteY5" fmla="*/ 6395685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7266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80838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61979 h 6859884"/>
              <a:gd name="connsiteX7" fmla="*/ 3810 w 9147810"/>
              <a:gd name="connsiteY7" fmla="*/ 3806 h 6859884"/>
              <a:gd name="connsiteX0" fmla="*/ 2024 w 9146024"/>
              <a:gd name="connsiteY0" fmla="*/ 3806 h 6859884"/>
              <a:gd name="connsiteX1" fmla="*/ 9144119 w 9146024"/>
              <a:gd name="connsiteY1" fmla="*/ 0 h 6859884"/>
              <a:gd name="connsiteX2" fmla="*/ 9146024 w 9146024"/>
              <a:gd name="connsiteY2" fmla="*/ 4615799 h 6859884"/>
              <a:gd name="connsiteX3" fmla="*/ 4284397 w 9146024"/>
              <a:gd name="connsiteY3" fmla="*/ 6858975 h 6859884"/>
              <a:gd name="connsiteX4" fmla="*/ 4173694 w 9146024"/>
              <a:gd name="connsiteY4" fmla="*/ 6859884 h 6859884"/>
              <a:gd name="connsiteX5" fmla="*/ 5176863 w 9146024"/>
              <a:gd name="connsiteY5" fmla="*/ 6398063 h 6859884"/>
              <a:gd name="connsiteX6" fmla="*/ 0 w 9146024"/>
              <a:gd name="connsiteY6" fmla="*/ 4961980 h 6859884"/>
              <a:gd name="connsiteX7" fmla="*/ 2024 w 9146024"/>
              <a:gd name="connsiteY7" fmla="*/ 3806 h 6859884"/>
              <a:gd name="connsiteX0" fmla="*/ 3810 w 9147810"/>
              <a:gd name="connsiteY0" fmla="*/ 3806 h 6859884"/>
              <a:gd name="connsiteX1" fmla="*/ 9145905 w 9147810"/>
              <a:gd name="connsiteY1" fmla="*/ 0 h 6859884"/>
              <a:gd name="connsiteX2" fmla="*/ 9147810 w 9147810"/>
              <a:gd name="connsiteY2" fmla="*/ 4615799 h 6859884"/>
              <a:gd name="connsiteX3" fmla="*/ 4286183 w 9147810"/>
              <a:gd name="connsiteY3" fmla="*/ 6858975 h 6859884"/>
              <a:gd name="connsiteX4" fmla="*/ 4175480 w 9147810"/>
              <a:gd name="connsiteY4" fmla="*/ 6859884 h 6859884"/>
              <a:gd name="connsiteX5" fmla="*/ 5178649 w 9147810"/>
              <a:gd name="connsiteY5" fmla="*/ 6398063 h 6859884"/>
              <a:gd name="connsiteX6" fmla="*/ 0 w 9147810"/>
              <a:gd name="connsiteY6" fmla="*/ 4959602 h 6859884"/>
              <a:gd name="connsiteX7" fmla="*/ 3810 w 9147810"/>
              <a:gd name="connsiteY7" fmla="*/ 3806 h 6859884"/>
              <a:gd name="connsiteX0" fmla="*/ 7382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7382 w 9151382"/>
              <a:gd name="connsiteY7" fmla="*/ 3806 h 6859884"/>
              <a:gd name="connsiteX0" fmla="*/ 2024 w 9151382"/>
              <a:gd name="connsiteY0" fmla="*/ 3806 h 6859884"/>
              <a:gd name="connsiteX1" fmla="*/ 9149477 w 9151382"/>
              <a:gd name="connsiteY1" fmla="*/ 0 h 6859884"/>
              <a:gd name="connsiteX2" fmla="*/ 9151382 w 9151382"/>
              <a:gd name="connsiteY2" fmla="*/ 4615799 h 6859884"/>
              <a:gd name="connsiteX3" fmla="*/ 4289755 w 9151382"/>
              <a:gd name="connsiteY3" fmla="*/ 6858975 h 6859884"/>
              <a:gd name="connsiteX4" fmla="*/ 4179052 w 9151382"/>
              <a:gd name="connsiteY4" fmla="*/ 6859884 h 6859884"/>
              <a:gd name="connsiteX5" fmla="*/ 5182221 w 9151382"/>
              <a:gd name="connsiteY5" fmla="*/ 6398063 h 6859884"/>
              <a:gd name="connsiteX6" fmla="*/ 0 w 9151382"/>
              <a:gd name="connsiteY6" fmla="*/ 4961982 h 6859884"/>
              <a:gd name="connsiteX7" fmla="*/ 2024 w 9151382"/>
              <a:gd name="connsiteY7" fmla="*/ 3806 h 6859884"/>
              <a:gd name="connsiteX0" fmla="*/ 2024 w 9153049"/>
              <a:gd name="connsiteY0" fmla="*/ 3806 h 6859884"/>
              <a:gd name="connsiteX1" fmla="*/ 9153049 w 9153049"/>
              <a:gd name="connsiteY1" fmla="*/ 0 h 6859884"/>
              <a:gd name="connsiteX2" fmla="*/ 9151382 w 9153049"/>
              <a:gd name="connsiteY2" fmla="*/ 4615799 h 6859884"/>
              <a:gd name="connsiteX3" fmla="*/ 4289755 w 9153049"/>
              <a:gd name="connsiteY3" fmla="*/ 6858975 h 6859884"/>
              <a:gd name="connsiteX4" fmla="*/ 4179052 w 9153049"/>
              <a:gd name="connsiteY4" fmla="*/ 6859884 h 6859884"/>
              <a:gd name="connsiteX5" fmla="*/ 5182221 w 9153049"/>
              <a:gd name="connsiteY5" fmla="*/ 6398063 h 6859884"/>
              <a:gd name="connsiteX6" fmla="*/ 0 w 9153049"/>
              <a:gd name="connsiteY6" fmla="*/ 4961982 h 6859884"/>
              <a:gd name="connsiteX7" fmla="*/ 2024 w 9153049"/>
              <a:gd name="connsiteY7" fmla="*/ 3806 h 6859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3049" h="6859884">
                <a:moveTo>
                  <a:pt x="2024" y="3806"/>
                </a:moveTo>
                <a:lnTo>
                  <a:pt x="9153049" y="0"/>
                </a:lnTo>
                <a:cubicBezTo>
                  <a:pt x="9152493" y="1538600"/>
                  <a:pt x="9151938" y="3077199"/>
                  <a:pt x="9151382" y="4615799"/>
                </a:cubicBezTo>
                <a:lnTo>
                  <a:pt x="4289755" y="6858975"/>
                </a:lnTo>
                <a:lnTo>
                  <a:pt x="4179052" y="6859884"/>
                </a:lnTo>
                <a:lnTo>
                  <a:pt x="5182221" y="6398063"/>
                </a:lnTo>
                <a:lnTo>
                  <a:pt x="0" y="4961982"/>
                </a:lnTo>
                <a:cubicBezTo>
                  <a:pt x="0" y="3242150"/>
                  <a:pt x="2024" y="1723638"/>
                  <a:pt x="2024" y="3806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</p:spPr>
        <p:txBody>
          <a:bodyPr wrap="square" tIns="540000" bIns="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1" name="Textplatzhalt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9" y="5634000"/>
            <a:ext cx="2677296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chemeClr val="tx1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pic>
        <p:nvPicPr>
          <p:cNvPr id="16" name="Bild 7" descr="WortmarkeBMWGROUP Kopie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269622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4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</a:t>
            </a:r>
            <a:br>
              <a:rPr lang="en-US" noProof="0" dirty="0"/>
            </a:br>
            <a:r>
              <a:rPr lang="en-US" noProof="0" dirty="0"/>
              <a:t>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1386804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404040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3" y="6137292"/>
            <a:ext cx="1159625" cy="36160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2813" y="6137291"/>
            <a:ext cx="1811268" cy="3636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5" orient="horz" pos="3752" userDrawn="1">
          <p15:clr>
            <a:srgbClr val="FBAE40"/>
          </p15:clr>
        </p15:guide>
        <p15:guide id="6" orient="horz" pos="210" userDrawn="1">
          <p15:clr>
            <a:srgbClr val="FBAE40"/>
          </p15:clr>
        </p15:guide>
        <p15:guide id="7" orient="horz" pos="35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48" y="1413936"/>
            <a:ext cx="5486400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6193368" y="1413936"/>
            <a:ext cx="5520267" cy="260616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7"/>
          </p:nvPr>
        </p:nvSpPr>
        <p:spPr>
          <a:xfrm>
            <a:off x="488948" y="4183352"/>
            <a:ext cx="5486400" cy="1938048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6193368" y="4191000"/>
            <a:ext cx="5520267" cy="1930400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0" name="Gerade Verbindung 9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488950" y="1413936"/>
            <a:ext cx="3578577" cy="1675641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34"/>
          </p:nvPr>
        </p:nvSpPr>
        <p:spPr>
          <a:xfrm>
            <a:off x="4295424" y="1413936"/>
            <a:ext cx="3584221" cy="1683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8134521" y="1413936"/>
            <a:ext cx="3579112" cy="1683297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5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4301070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8135058" y="3259666"/>
            <a:ext cx="3578577" cy="2861734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4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30"/>
          </p:nvPr>
        </p:nvSpPr>
        <p:spPr>
          <a:xfrm>
            <a:off x="488950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3352802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32"/>
          </p:nvPr>
        </p:nvSpPr>
        <p:spPr>
          <a:xfrm>
            <a:off x="6220182" y="1413936"/>
            <a:ext cx="2619020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9096213" y="1413936"/>
            <a:ext cx="2617423" cy="1302299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16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38"/>
          </p:nvPr>
        </p:nvSpPr>
        <p:spPr>
          <a:xfrm>
            <a:off x="488948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39"/>
          </p:nvPr>
        </p:nvSpPr>
        <p:spPr>
          <a:xfrm>
            <a:off x="3352803" y="2895604"/>
            <a:ext cx="2619021" cy="3225799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dirty="0" smtClean="0">
                <a:solidFill>
                  <a:srgbClr val="404040"/>
                </a:solidFill>
              </a:defRPr>
            </a:lvl1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40"/>
          </p:nvPr>
        </p:nvSpPr>
        <p:spPr>
          <a:xfrm>
            <a:off x="6220180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1"/>
          </p:nvPr>
        </p:nvSpPr>
        <p:spPr>
          <a:xfrm>
            <a:off x="9094612" y="2887134"/>
            <a:ext cx="2619021" cy="3234266"/>
          </a:xfrm>
        </p:spPr>
        <p:txBody>
          <a:bodyPr vert="horz" lIns="0" tIns="0" rIns="0" bIns="0" rtlCol="0">
            <a:normAutofit/>
          </a:bodyPr>
          <a:lstStyle>
            <a:lvl1pPr>
              <a:buFontTx/>
              <a:buNone/>
              <a:defRPr lang="en-US" sz="1200" smtClean="0">
                <a:solidFill>
                  <a:srgbClr val="404040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indent="0" fontAlgn="auto">
              <a:lnSpc>
                <a:spcPct val="100000"/>
              </a:lnSpc>
              <a:buClrTx/>
              <a:buSzTx/>
              <a:buNone/>
              <a:tabLst/>
            </a:pPr>
            <a:r>
              <a:rPr lang="en-US" smtClean="0"/>
              <a:t>Click to edit Master text styles</a:t>
            </a: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bin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" y="1413933"/>
            <a:ext cx="5971817" cy="4715934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72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Content without Dividing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051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1345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5" name="Gerade Verbindung 4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175787" y="3015093"/>
            <a:ext cx="7347115" cy="1470025"/>
          </a:xfrm>
        </p:spPr>
        <p:txBody>
          <a:bodyPr>
            <a:normAutofit/>
          </a:bodyPr>
          <a:lstStyle>
            <a:lvl1pPr algn="l">
              <a:defRPr sz="5333"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175787" y="4677139"/>
            <a:ext cx="7392821" cy="1344149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263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4362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114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4322170"/>
            <a:ext cx="12191496" cy="253583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892" y="6137292"/>
            <a:ext cx="1159625" cy="361604"/>
          </a:xfrm>
          <a:prstGeom prst="rect">
            <a:avLst/>
          </a:prstGeom>
        </p:spPr>
      </p:pic>
      <p:sp>
        <p:nvSpPr>
          <p:cNvPr id="18" name="Textplatzhalt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7" y="5634000"/>
            <a:ext cx="2600351" cy="31941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i="0" baseline="0">
                <a:solidFill>
                  <a:srgbClr val="343434"/>
                </a:solidFill>
                <a:latin typeface="BMW Group Condensed Bold"/>
                <a:ea typeface="BMW Type Global Pro Regular" pitchFamily="2" charset="0"/>
                <a:cs typeface="BMW Group Condensed Bold"/>
              </a:defRPr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US" noProof="0" dirty="0"/>
              <a:t>Department | Date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8" y="1799485"/>
            <a:ext cx="11224685" cy="109251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9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Headline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8" y="2916667"/>
            <a:ext cx="11224685" cy="5340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100"/>
              </a:lnSpc>
              <a:spcBef>
                <a:spcPts val="0"/>
              </a:spcBef>
              <a:buNone/>
              <a:defRPr sz="2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Single or Double-Line </a:t>
            </a:r>
            <a:r>
              <a:rPr lang="en-US" noProof="0" dirty="0" err="1"/>
              <a:t>Subheadline</a:t>
            </a:r>
            <a:r>
              <a:rPr lang="en-US" noProof="0" dirty="0"/>
              <a:t>.</a:t>
            </a:r>
          </a:p>
        </p:txBody>
      </p:sp>
      <p:pic>
        <p:nvPicPr>
          <p:cNvPr id="15" name="Bild 7" descr="WortmarkeBMWGROUP Kopie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64" y="6138897"/>
            <a:ext cx="757729" cy="359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2813" y="6137291"/>
            <a:ext cx="1811268" cy="363600"/>
          </a:xfrm>
          <a:prstGeom prst="rect">
            <a:avLst/>
          </a:prstGeom>
        </p:spPr>
      </p:pic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79" userDrawn="1">
          <p15:clr>
            <a:srgbClr val="FBAE40"/>
          </p15:clr>
        </p15:guide>
        <p15:guide id="2" orient="horz" pos="1128" userDrawn="1">
          <p15:clr>
            <a:srgbClr val="FBAE40"/>
          </p15:clr>
        </p15:guide>
        <p15:guide id="3" orient="horz" pos="3544" userDrawn="1">
          <p15:clr>
            <a:srgbClr val="FBAE40"/>
          </p15:clr>
        </p15:guide>
        <p15:guide id="4" orient="horz" pos="1832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375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5299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189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980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2137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979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3184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9661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2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175787" y="3015093"/>
            <a:ext cx="7347115" cy="1470025"/>
          </a:xfrm>
        </p:spPr>
        <p:txBody>
          <a:bodyPr>
            <a:normAutofit/>
          </a:bodyPr>
          <a:lstStyle>
            <a:lvl1pPr algn="l">
              <a:defRPr sz="5333"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175787" y="4677139"/>
            <a:ext cx="7392821" cy="1344149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1059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658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8"/>
          <p:cNvSpPr/>
          <p:nvPr userDrawn="1"/>
        </p:nvSpPr>
        <p:spPr>
          <a:xfrm>
            <a:off x="0" y="0"/>
            <a:ext cx="12192000" cy="6294964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100000">
                <a:srgbClr val="E4E8EE"/>
              </a:gs>
            </a:gsLst>
            <a:lin ang="166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16" name="Bild 10" descr="Next_100_Years_Signet.png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90" t="31947" r="48537" b="3"/>
          <a:stretch/>
        </p:blipFill>
        <p:spPr>
          <a:xfrm>
            <a:off x="4664261" y="1"/>
            <a:ext cx="7527739" cy="6330218"/>
          </a:xfrm>
          <a:prstGeom prst="rect">
            <a:avLst/>
          </a:prstGeom>
        </p:spPr>
      </p:pic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9" y="1412875"/>
            <a:ext cx="2989019" cy="9246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7200"/>
              </a:lnSpc>
              <a:spcBef>
                <a:spcPts val="0"/>
              </a:spcBef>
              <a:buNone/>
              <a:defRPr sz="72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8" y="2362896"/>
            <a:ext cx="11224685" cy="54886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spcBef>
                <a:spcPts val="0"/>
              </a:spcBef>
              <a:buNone/>
              <a:defRPr sz="4000" b="1" cap="all" baseline="0">
                <a:solidFill>
                  <a:srgbClr val="667084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hapter.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36" userDrawn="1">
          <p15:clr>
            <a:srgbClr val="FBAE40"/>
          </p15:clr>
        </p15:guide>
        <p15:guide id="2" orient="horz" pos="887" userDrawn="1">
          <p15:clr>
            <a:srgbClr val="FBAE40"/>
          </p15:clr>
        </p15:guide>
        <p15:guide id="3" pos="7384" userDrawn="1">
          <p15:clr>
            <a:srgbClr val="FBAE40"/>
          </p15:clr>
        </p15:guide>
        <p15:guide id="4" pos="301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1777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9557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2261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2244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2555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6389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4744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8126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037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 baseline="0"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1"/>
          <p:cNvPicPr>
            <a:picLocks noChangeAspect="1"/>
          </p:cNvPicPr>
          <p:nvPr userDrawn="1"/>
        </p:nvPicPr>
        <p:blipFill rotWithShape="1">
          <a:blip r:embed="rId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56" t="46096" r="-1521" b="2091"/>
          <a:stretch/>
        </p:blipFill>
        <p:spPr>
          <a:xfrm>
            <a:off x="-9832" y="0"/>
            <a:ext cx="6028267" cy="629390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9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 with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2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GB" noProof="0"/>
              <a:t>Subject | Department | Date</a:t>
            </a:r>
            <a:endParaRPr lang="en-GB" noProof="0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88950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93368" y="1412875"/>
            <a:ext cx="5486400" cy="32385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4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/>
              <a:t>Subject | Department | Date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6"/>
          </p:nvPr>
        </p:nvSpPr>
        <p:spPr>
          <a:xfrm>
            <a:off x="488948" y="1413933"/>
            <a:ext cx="11224685" cy="4707467"/>
          </a:xfrm>
          <a:pattFill prst="wdUpDiag">
            <a:fgClr>
              <a:srgbClr val="BFBFBF"/>
            </a:fgClr>
            <a:bgClr>
              <a:schemeClr val="bg1"/>
            </a:bgClr>
          </a:pattFill>
        </p:spPr>
        <p:txBody>
          <a:bodyPr tIns="540000" anchor="ctr"/>
          <a:lstStyle>
            <a:lvl1pPr marL="0" indent="0" algn="ctr">
              <a:buNone/>
              <a:defRPr sz="2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en-US" noProof="0" dirty="0"/>
              <a:t>Click to edit Master title style.</a:t>
            </a:r>
            <a:br>
              <a:rPr lang="en-US" noProof="0" dirty="0"/>
            </a:br>
            <a:r>
              <a:rPr lang="en-US" noProof="0" dirty="0"/>
              <a:t>Second Line Lorem Ipsum.</a:t>
            </a:r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" y="1413933"/>
            <a:ext cx="12192003" cy="5444068"/>
          </a:xfr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vert="horz" lIns="0" tIns="540000" rIns="0" bIns="0" rtlCol="0" anchor="ctr" anchorCtr="0">
            <a:noAutofit/>
          </a:bodyPr>
          <a:lstStyle>
            <a:lvl1pPr algn="ctr">
              <a:buFontTx/>
              <a:buNone/>
              <a:defRPr lang="en-US" sz="2000">
                <a:ea typeface="BMW Type Global Pro Regular" pitchFamily="2" charset="0"/>
                <a:cs typeface="BMW Group" pitchFamily="2" charset="0"/>
              </a:defRPr>
            </a:lvl1pPr>
          </a:lstStyle>
          <a:p>
            <a:pPr lvl="0" indent="0" algn="ctr">
              <a:buNone/>
            </a:pPr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0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</a:defRPr>
            </a:lvl1pPr>
          </a:lstStyle>
          <a:p>
            <a:pPr algn="l"/>
            <a:r>
              <a:rPr lang="en-GB" noProof="0" dirty="0"/>
              <a:t>Subject | Department | Dat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</a:defRPr>
            </a:lvl1pPr>
          </a:lstStyle>
          <a:p>
            <a:r>
              <a:rPr lang="en-US" noProof="0" dirty="0"/>
              <a:t>Page </a:t>
            </a:r>
            <a:fld id="{AA807A42-CF27-4B84-8583-18EBE418342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8" name="empower - DO NOT DELETE!!!" hidden="1"/>
          <p:cNvSpPr/>
          <p:nvPr userDrawn="1">
            <p:custDataLst>
              <p:tags r:id="rId18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>
              <a:lnSpc>
                <a:spcPts val="2700"/>
              </a:lnSpc>
            </a:pPr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6" r:id="rId2"/>
    <p:sldLayoutId id="2147483748" r:id="rId3"/>
    <p:sldLayoutId id="2147483749" r:id="rId4"/>
    <p:sldLayoutId id="2147483752" r:id="rId5"/>
    <p:sldLayoutId id="2147483750" r:id="rId6"/>
    <p:sldLayoutId id="2147483751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5" r:id="rId14"/>
    <p:sldLayoutId id="2147483762" r:id="rId15"/>
    <p:sldLayoutId id="2147483764" r:id="rId16"/>
  </p:sldLayoutIdLst>
  <p:hf hd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+mj-lt"/>
          <a:ea typeface="+mn-ea"/>
          <a:cs typeface="+mn-cs"/>
        </a:defRPr>
      </a:lvl1pPr>
    </p:titleStyle>
    <p:bodyStyle>
      <a:lvl1pPr marL="176213" indent="-176213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400896" y="6356351"/>
            <a:ext cx="14868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08235" y="6356351"/>
            <a:ext cx="1453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16"/>
          <p:cNvSpPr>
            <a:spLocks noChangeArrowheads="1"/>
          </p:cNvSpPr>
          <p:nvPr userDrawn="1"/>
        </p:nvSpPr>
        <p:spPr bwMode="auto">
          <a:xfrm rot="16200000" flipV="1">
            <a:off x="6338392" y="-4307417"/>
            <a:ext cx="93133" cy="11523133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0099C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fr-FR" altLang="fr-FR" sz="2400" smtClean="0">
              <a:solidFill>
                <a:prstClr val="black"/>
              </a:solidFill>
            </a:endParaRPr>
          </a:p>
        </p:txBody>
      </p:sp>
      <p:pic>
        <p:nvPicPr>
          <p:cNvPr id="8" name="Imag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50" y="6314503"/>
            <a:ext cx="1920213" cy="47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1" y="6306342"/>
            <a:ext cx="960635" cy="4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7134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rgbClr val="0099CC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400896" y="6356351"/>
            <a:ext cx="14868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894EF5-CD47-4931-8D65-E80473DB5414}" type="datetimeFigureOut">
              <a:rPr lang="fr-FR">
                <a:solidFill>
                  <a:prstClr val="black">
                    <a:tint val="75000"/>
                  </a:prstClr>
                </a:solidFill>
              </a:rPr>
              <a:pPr/>
              <a:t>26/10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208235" y="6356351"/>
            <a:ext cx="1453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7AD309-881F-483C-8305-96BF5CA4616E}" type="slidenum">
              <a:rPr lang="fr-FR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16"/>
          <p:cNvSpPr>
            <a:spLocks noChangeArrowheads="1"/>
          </p:cNvSpPr>
          <p:nvPr userDrawn="1"/>
        </p:nvSpPr>
        <p:spPr bwMode="auto">
          <a:xfrm rot="16200000" flipV="1">
            <a:off x="6338392" y="-4307417"/>
            <a:ext cx="93133" cy="11523133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0099C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fr-FR" altLang="fr-FR" sz="2400" smtClean="0">
              <a:solidFill>
                <a:prstClr val="black"/>
              </a:solidFill>
            </a:endParaRPr>
          </a:p>
        </p:txBody>
      </p:sp>
      <p:pic>
        <p:nvPicPr>
          <p:cNvPr id="8" name="Imag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50" y="6314503"/>
            <a:ext cx="1920213" cy="47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8501" y="6306342"/>
            <a:ext cx="960635" cy="4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7099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rgbClr val="0099CC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lotz@eurecom.fr" TargetMode="Externa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my.local.network/Vehicle/VehicleIdentification/VIN" TargetMode="Externa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klotz@eurecom.fr" TargetMode="Externa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l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461233" y="2828012"/>
            <a:ext cx="6061669" cy="1470025"/>
          </a:xfrm>
        </p:spPr>
        <p:txBody>
          <a:bodyPr>
            <a:noAutofit/>
          </a:bodyPr>
          <a:lstStyle/>
          <a:p>
            <a:r>
              <a:rPr lang="en-US" dirty="0" smtClean="0">
                <a:solidFill>
                  <a:srgbClr val="8090AF"/>
                </a:solidFill>
                <a:latin typeface="BMWType V2 Bold" pitchFamily="2" charset="0"/>
                <a:cs typeface="BMWType V2 Bold" pitchFamily="2" charset="0"/>
              </a:rPr>
              <a:t>VSS 2.0 proposal</a:t>
            </a:r>
            <a:endParaRPr lang="fr-FR" dirty="0">
              <a:solidFill>
                <a:srgbClr val="8090AF"/>
              </a:solidFill>
              <a:latin typeface="BMWType V2 Bold" pitchFamily="2" charset="0"/>
              <a:cs typeface="BMWType V2 Bold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921482" y="5294193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fr-FR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Benjamin KLOTZ</a:t>
            </a:r>
          </a:p>
          <a:p>
            <a:pPr algn="ctr"/>
            <a:r>
              <a:rPr lang="en-US" sz="2400" dirty="0">
                <a:solidFill>
                  <a:srgbClr val="000000"/>
                </a:solidFill>
                <a:latin typeface="Wingdings" panose="05000000000000000000" pitchFamily="2" charset="2"/>
              </a:rPr>
              <a:t></a:t>
            </a:r>
            <a:r>
              <a:rPr lang="en-US" sz="2400" dirty="0">
                <a:solidFill>
                  <a:srgbClr val="000000"/>
                </a:solidFill>
              </a:rPr>
              <a:t> </a:t>
            </a:r>
            <a:r>
              <a:rPr lang="en-US" altLang="fr-FR" sz="2400" dirty="0">
                <a:solidFill>
                  <a:srgbClr val="EEECE1"/>
                </a:solidFill>
                <a:hlinkClick r:id="rId3"/>
              </a:rPr>
              <a:t>klotz@eurecom.fr</a:t>
            </a:r>
            <a:endParaRPr lang="en-US" altLang="fr-FR" sz="2400" dirty="0">
              <a:solidFill>
                <a:srgbClr val="EEECE1"/>
              </a:solidFill>
            </a:endParaRPr>
          </a:p>
          <a:p>
            <a:pPr algn="ctr"/>
            <a:endParaRPr lang="fr-FR" altLang="fr-FR" sz="2400" dirty="0">
              <a:solidFill>
                <a:srgbClr val="EEECE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988155" y="3932232"/>
            <a:ext cx="304981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fr-FR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BMW Group" pitchFamily="2" charset="0"/>
                <a:cs typeface="BMW Group" pitchFamily="2" charset="0"/>
              </a:rPr>
              <a:t>TPAC 2018, Lyon</a:t>
            </a:r>
            <a:endParaRPr lang="en-US" altLang="fr-FR" sz="2800" dirty="0">
              <a:solidFill>
                <a:schemeClr val="tx1">
                  <a:lumMod val="65000"/>
                  <a:lumOff val="35000"/>
                </a:schemeClr>
              </a:solidFill>
              <a:latin typeface="BMW Group" pitchFamily="2" charset="0"/>
              <a:cs typeface="BMW Group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667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S in a nutshel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203198" y="907747"/>
            <a:ext cx="11224685" cy="4707467"/>
          </a:xfrm>
        </p:spPr>
        <p:txBody>
          <a:bodyPr/>
          <a:lstStyle/>
          <a:p>
            <a:r>
              <a:rPr lang="en-US" dirty="0"/>
              <a:t>451 </a:t>
            </a:r>
            <a:r>
              <a:rPr lang="en-US" dirty="0" smtClean="0"/>
              <a:t>branches</a:t>
            </a:r>
          </a:p>
          <a:p>
            <a:r>
              <a:rPr lang="en-US" dirty="0" smtClean="0"/>
              <a:t>1103 leaves:</a:t>
            </a:r>
          </a:p>
          <a:p>
            <a:pPr lvl="1"/>
            <a:r>
              <a:rPr lang="en-US" dirty="0"/>
              <a:t>43 attributes</a:t>
            </a:r>
          </a:p>
          <a:p>
            <a:pPr lvl="1"/>
            <a:r>
              <a:rPr lang="en-US" dirty="0" smtClean="0"/>
              <a:t>1060 signals: (700 </a:t>
            </a:r>
            <a:r>
              <a:rPr lang="en-US" dirty="0"/>
              <a:t>seat-related), 268 with unit,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dirty="0" smtClean="0"/>
              <a:t>Page </a:t>
            </a:r>
            <a:fld id="{AA807A42-CF27-4B84-8583-18EBE418342E}" type="slidenum">
              <a:rPr lang="en-US" noProof="0" smtClean="0"/>
              <a:pPr/>
              <a:t>2</a:t>
            </a:fld>
            <a:endParaRPr lang="en-US" noProof="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1729367675"/>
              </p:ext>
            </p:extLst>
          </p:nvPr>
        </p:nvGraphicFramePr>
        <p:xfrm>
          <a:off x="3888967" y="765482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367860" y="688242"/>
            <a:ext cx="947632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Attribut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144953" y="2375528"/>
            <a:ext cx="72648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Sign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647681" y="3474815"/>
            <a:ext cx="136928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Signal entries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198" y="4557150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amples:</a:t>
            </a:r>
          </a:p>
          <a:p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earbox-sensed speed: </a:t>
            </a:r>
            <a:r>
              <a:rPr lang="en-US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.Drivetrain.Transmission.Speed</a:t>
            </a:r>
            <a:endParaRPr lang="en-US" dirty="0">
              <a:solidFill>
                <a:schemeClr val="bg2"/>
              </a:solidFill>
              <a:latin typeface="BMW Group Condensed" panose="020B0606020202020204" pitchFamily="34" charset="0"/>
            </a:endParaRPr>
          </a:p>
          <a:p>
            <a:r>
              <a:rPr lang="en-US" dirty="0" smtClean="0">
                <a:latin typeface="BMW Group Condensed" panose="020B0606020202020204" pitchFamily="34" charset="0"/>
              </a:rPr>
              <a:t>Engine speed: </a:t>
            </a:r>
            <a:r>
              <a:rPr lang="en-US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.Drivetrain.Engine.Speed</a:t>
            </a:r>
            <a:endParaRPr lang="en-US" dirty="0">
              <a:solidFill>
                <a:schemeClr val="bg2"/>
              </a:solidFill>
              <a:latin typeface="BMW Group Condensed" panose="020B0606020202020204" pitchFamily="34" charset="0"/>
            </a:endParaRPr>
          </a:p>
          <a:p>
            <a:r>
              <a:rPr lang="en-US" dirty="0" smtClean="0">
                <a:latin typeface="BMW Group Condensed" panose="020B0606020202020204" pitchFamily="34" charset="0"/>
              </a:rPr>
              <a:t>GPS-sensed speed: </a:t>
            </a:r>
            <a:r>
              <a:rPr lang="en-US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.Cabin.Infotainment.Speed</a:t>
            </a:r>
          </a:p>
          <a:p>
            <a:r>
              <a:rPr lang="en-US" dirty="0" smtClean="0">
                <a:latin typeface="BMW Group Condensed" panose="020B0606020202020204" pitchFamily="34" charset="0"/>
              </a:rPr>
              <a:t>Left door lock:</a:t>
            </a:r>
            <a:r>
              <a:rPr lang="en-US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 .Body.Row1.Door.Left.IsLocked</a:t>
            </a:r>
            <a:endParaRPr lang="en-US" dirty="0">
              <a:solidFill>
                <a:schemeClr val="bg2"/>
              </a:solidFill>
              <a:latin typeface="BMW Group Condensed" panose="020B0606020202020204" pitchFamily="34" charset="0"/>
            </a:endParaRPr>
          </a:p>
          <a:p>
            <a:r>
              <a:rPr lang="en-US" dirty="0" smtClean="0">
                <a:latin typeface="BMW Group Condensed" panose="020B0606020202020204" pitchFamily="34" charset="0"/>
              </a:rPr>
              <a:t>Right mirror tilt: </a:t>
            </a:r>
            <a:r>
              <a:rPr lang="en-US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.Cabin.Mirror.Right.Tilt</a:t>
            </a:r>
            <a:endParaRPr lang="en-US" dirty="0">
              <a:solidFill>
                <a:schemeClr val="bg2"/>
              </a:solidFill>
              <a:latin typeface="BMW Group Condensed" panose="020B0606020202020204" pitchFamily="34" charset="0"/>
            </a:endParaRPr>
          </a:p>
          <a:p>
            <a:endParaRPr lang="en-US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917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S in 3 tre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3</a:t>
            </a:fld>
            <a:endParaRPr lang="en-US" noProof="0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483057430"/>
              </p:ext>
            </p:extLst>
          </p:nvPr>
        </p:nvGraphicFramePr>
        <p:xfrm>
          <a:off x="0" y="937780"/>
          <a:ext cx="5033394" cy="34748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231751224"/>
              </p:ext>
            </p:extLst>
          </p:nvPr>
        </p:nvGraphicFramePr>
        <p:xfrm>
          <a:off x="6460922" y="561186"/>
          <a:ext cx="5033394" cy="34748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896544243"/>
              </p:ext>
            </p:extLst>
          </p:nvPr>
        </p:nvGraphicFramePr>
        <p:xfrm>
          <a:off x="4021121" y="3188209"/>
          <a:ext cx="4353887" cy="2876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1" name="Rectangle 10"/>
          <p:cNvSpPr/>
          <p:nvPr/>
        </p:nvSpPr>
        <p:spPr>
          <a:xfrm>
            <a:off x="7762612" y="3973691"/>
            <a:ext cx="431753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- </a:t>
            </a:r>
            <a:r>
              <a:rPr lang="en-US" dirty="0" err="1"/>
              <a:t>AverageSpeed</a:t>
            </a:r>
            <a:r>
              <a:rPr lang="en-US" dirty="0"/>
              <a:t>:</a:t>
            </a:r>
          </a:p>
          <a:p>
            <a:r>
              <a:rPr lang="en-US" dirty="0"/>
              <a:t>  type: Int32</a:t>
            </a:r>
          </a:p>
          <a:p>
            <a:r>
              <a:rPr lang="en-US" dirty="0"/>
              <a:t>  min: -250</a:t>
            </a:r>
          </a:p>
          <a:p>
            <a:r>
              <a:rPr lang="en-US" dirty="0"/>
              <a:t>  max: 250</a:t>
            </a:r>
          </a:p>
          <a:p>
            <a:r>
              <a:rPr lang="en-US" dirty="0"/>
              <a:t>  unit: km/h</a:t>
            </a:r>
          </a:p>
          <a:p>
            <a:r>
              <a:rPr lang="en-US" dirty="0"/>
              <a:t>  description: Average speed for the current trip</a:t>
            </a:r>
          </a:p>
          <a:p>
            <a:r>
              <a:rPr lang="en-US" dirty="0"/>
              <a:t>  sensor: Odomet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11853" y="4804687"/>
            <a:ext cx="43091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- </a:t>
            </a:r>
            <a:r>
              <a:rPr lang="en-US" dirty="0" err="1"/>
              <a:t>VehicleIdentification.VIN</a:t>
            </a:r>
            <a:r>
              <a:rPr lang="en-US" dirty="0"/>
              <a:t>:</a:t>
            </a:r>
          </a:p>
          <a:p>
            <a:r>
              <a:rPr lang="en-US" dirty="0"/>
              <a:t>  type: String</a:t>
            </a:r>
          </a:p>
          <a:p>
            <a:r>
              <a:rPr lang="en-US" dirty="0"/>
              <a:t>  description: 17-character Vehicle Identification Number (VIN) as defined by ISO 3779</a:t>
            </a:r>
          </a:p>
        </p:txBody>
      </p:sp>
    </p:spTree>
    <p:extLst>
      <p:ext uri="{BB962C8B-B14F-4D97-AF65-F5344CB8AC3E}">
        <p14:creationId xmlns:p14="http://schemas.microsoft.com/office/powerpoint/2010/main" val="3177797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5603" y="1413933"/>
            <a:ext cx="5282678" cy="1614493"/>
          </a:xfrm>
        </p:spPr>
        <p:txBody>
          <a:bodyPr/>
          <a:lstStyle/>
          <a:p>
            <a:r>
              <a:rPr lang="en-US" dirty="0" smtClean="0"/>
              <a:t>Branches are related by a “</a:t>
            </a:r>
            <a:r>
              <a:rPr lang="en-US" dirty="0" err="1" smtClean="0"/>
              <a:t>subbranch</a:t>
            </a:r>
            <a:r>
              <a:rPr lang="en-US" dirty="0" smtClean="0"/>
              <a:t> of” relationship</a:t>
            </a:r>
          </a:p>
          <a:p>
            <a:pPr lvl="1"/>
            <a:r>
              <a:rPr lang="en-US" dirty="0" smtClean="0"/>
              <a:t>The root (“Signal”, “Attribute”) is inappropriate</a:t>
            </a:r>
          </a:p>
          <a:p>
            <a:r>
              <a:rPr lang="en-US" dirty="0" smtClean="0"/>
              <a:t>A URI construction scheme could use the VSS tree </a:t>
            </a:r>
          </a:p>
          <a:p>
            <a:r>
              <a:rPr lang="en-US" dirty="0" smtClean="0"/>
              <a:t>Branch mismatch between branches from different trees</a:t>
            </a:r>
          </a:p>
          <a:p>
            <a:r>
              <a:rPr lang="en-US" dirty="0" smtClean="0"/>
              <a:t>No way to define correctly the private tree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6" name="Right Arrow 5"/>
          <p:cNvSpPr/>
          <p:nvPr/>
        </p:nvSpPr>
        <p:spPr>
          <a:xfrm>
            <a:off x="5254391" y="1790775"/>
            <a:ext cx="1224792" cy="637563"/>
          </a:xfrm>
          <a:prstGeom prst="rightArrow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34260" y="1647891"/>
            <a:ext cx="5557740" cy="92333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342900" indent="-3429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Merge trees to have only one VSS</a:t>
            </a:r>
          </a:p>
          <a:p>
            <a:pPr marL="342900" indent="-3429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tend leaf metadata to differentiate signals and attributes</a:t>
            </a:r>
          </a:p>
          <a:p>
            <a:pPr marL="342900" indent="-34290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se “/” instead of “.” in VSS names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71777" y="3770543"/>
            <a:ext cx="1422377" cy="46166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0" u="none" baseline="0" dirty="0" smtClean="0">
                <a:solidFill>
                  <a:schemeClr val="bg2"/>
                </a:solidFill>
                <a:latin typeface="BMW Group Condensed" panose="020B0606020202020204" pitchFamily="34" charset="0"/>
              </a:rPr>
              <a:t>In the en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599376" y="4441585"/>
            <a:ext cx="981294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SS cor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82399" y="5122492"/>
            <a:ext cx="2033955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SS private </a:t>
            </a:r>
            <a:r>
              <a:rPr lang="en-US" sz="1800" b="0" i="0" u="none" baseline="0" dirty="0" err="1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extention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1" name="Right Brace 10"/>
          <p:cNvSpPr/>
          <p:nvPr/>
        </p:nvSpPr>
        <p:spPr>
          <a:xfrm>
            <a:off x="3531765" y="4290584"/>
            <a:ext cx="503339" cy="1359017"/>
          </a:xfrm>
          <a:prstGeom prst="rightBrac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110605" y="4753160"/>
            <a:ext cx="2232086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SS doc (JSON, VSI…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66114" y="5307158"/>
            <a:ext cx="1776577" cy="64633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urce mapping</a:t>
            </a:r>
            <a:endParaRPr lang="en-US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(local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data source)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6" name="Right Brace 15"/>
          <p:cNvSpPr/>
          <p:nvPr/>
        </p:nvSpPr>
        <p:spPr>
          <a:xfrm>
            <a:off x="6277848" y="4660988"/>
            <a:ext cx="503339" cy="1359017"/>
          </a:xfrm>
          <a:prstGeom prst="rightBrace">
            <a:avLst/>
          </a:prstGeom>
          <a:ln w="12700">
            <a:solidFill>
              <a:srgbClr val="92A2B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/>
        </p:nvSpPr>
        <p:spPr>
          <a:xfrm>
            <a:off x="6873701" y="4753160"/>
            <a:ext cx="3155479" cy="120032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VSS doc including: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URIs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urces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ll the metadata in a single tree</a:t>
            </a: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596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(1) Merge trees to have only one </a:t>
            </a:r>
            <a:r>
              <a:rPr lang="en-US" dirty="0" err="1" smtClean="0"/>
              <a:t>vs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20" name="TextBox 19"/>
          <p:cNvSpPr txBox="1"/>
          <p:nvPr/>
        </p:nvSpPr>
        <p:spPr>
          <a:xfrm>
            <a:off x="8107034" y="4295573"/>
            <a:ext cx="3435744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posal: future VSS structure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88948" y="1339453"/>
            <a:ext cx="2870298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Curre</a:t>
            </a:r>
            <a:r>
              <a:rPr lang="en-US" sz="2000" b="1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nt VSS </a:t>
            </a:r>
            <a:r>
              <a:rPr lang="en-US" sz="2000" b="1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tructure</a:t>
            </a:r>
          </a:p>
        </p:txBody>
      </p:sp>
      <p:graphicFrame>
        <p:nvGraphicFramePr>
          <p:cNvPr id="49" name="Diagram 48"/>
          <p:cNvGraphicFramePr/>
          <p:nvPr>
            <p:extLst>
              <p:ext uri="{D42A27DB-BD31-4B8C-83A1-F6EECF244321}">
                <p14:modId xmlns:p14="http://schemas.microsoft.com/office/powerpoint/2010/main" val="3340445427"/>
              </p:ext>
            </p:extLst>
          </p:nvPr>
        </p:nvGraphicFramePr>
        <p:xfrm>
          <a:off x="1924097" y="-424569"/>
          <a:ext cx="9681804" cy="4774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0" name="Diagram 49"/>
          <p:cNvGraphicFramePr/>
          <p:nvPr>
            <p:extLst>
              <p:ext uri="{D42A27DB-BD31-4B8C-83A1-F6EECF244321}">
                <p14:modId xmlns:p14="http://schemas.microsoft.com/office/powerpoint/2010/main" val="395370377"/>
              </p:ext>
            </p:extLst>
          </p:nvPr>
        </p:nvGraphicFramePr>
        <p:xfrm>
          <a:off x="143102" y="2635768"/>
          <a:ext cx="9681804" cy="4774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51" name="Right Arrow 50"/>
          <p:cNvSpPr/>
          <p:nvPr/>
        </p:nvSpPr>
        <p:spPr>
          <a:xfrm rot="8254043">
            <a:off x="4790095" y="3337969"/>
            <a:ext cx="1603215" cy="274799"/>
          </a:xfrm>
          <a:prstGeom prst="rightArrow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061531" y="3003507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Branches are related by a “</a:t>
            </a:r>
            <a:r>
              <a:rPr lang="en-US" dirty="0" err="1"/>
              <a:t>subbranch</a:t>
            </a:r>
            <a:r>
              <a:rPr lang="en-US" dirty="0"/>
              <a:t> of” </a:t>
            </a:r>
            <a:r>
              <a:rPr lang="en-US" dirty="0" smtClean="0"/>
              <a:t>relationship</a:t>
            </a:r>
          </a:p>
          <a:p>
            <a:r>
              <a:rPr lang="en-US" dirty="0" smtClean="0"/>
              <a:t>The </a:t>
            </a:r>
            <a:r>
              <a:rPr lang="en-US" dirty="0"/>
              <a:t>root (“Signal”, “Attribute”) is </a:t>
            </a:r>
            <a:r>
              <a:rPr lang="en-US" dirty="0" smtClean="0"/>
              <a:t>inappropriate</a:t>
            </a:r>
          </a:p>
        </p:txBody>
      </p:sp>
    </p:spTree>
    <p:extLst>
      <p:ext uri="{BB962C8B-B14F-4D97-AF65-F5344CB8AC3E}">
        <p14:creationId xmlns:p14="http://schemas.microsoft.com/office/powerpoint/2010/main" val="425702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(2) Extend the metadata on leave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7306811" y="857795"/>
            <a:ext cx="488519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- </a:t>
            </a:r>
            <a:r>
              <a:rPr lang="en-US" dirty="0" err="1"/>
              <a:t>AverageSpeed</a:t>
            </a:r>
            <a:r>
              <a:rPr lang="en-US" dirty="0"/>
              <a:t>:</a:t>
            </a:r>
          </a:p>
          <a:p>
            <a:r>
              <a:rPr lang="en-US" dirty="0"/>
              <a:t>  type: Int32</a:t>
            </a:r>
          </a:p>
          <a:p>
            <a:r>
              <a:rPr lang="en-US" dirty="0"/>
              <a:t>  min: -250</a:t>
            </a:r>
          </a:p>
          <a:p>
            <a:r>
              <a:rPr lang="en-US" dirty="0"/>
              <a:t>  max: 250</a:t>
            </a:r>
          </a:p>
          <a:p>
            <a:r>
              <a:rPr lang="en-US" dirty="0"/>
              <a:t>  unit: km/h</a:t>
            </a:r>
          </a:p>
          <a:p>
            <a:r>
              <a:rPr lang="en-US" dirty="0"/>
              <a:t>  description: Average speed for the current </a:t>
            </a:r>
            <a:r>
              <a:rPr lang="en-US" dirty="0" smtClean="0"/>
              <a:t>trip</a:t>
            </a:r>
          </a:p>
          <a:p>
            <a:r>
              <a:rPr lang="en-US" dirty="0" smtClean="0"/>
              <a:t>  </a:t>
            </a:r>
            <a:r>
              <a:rPr lang="en-US" dirty="0"/>
              <a:t>sensor: Odometer</a:t>
            </a:r>
          </a:p>
        </p:txBody>
      </p:sp>
      <p:sp>
        <p:nvSpPr>
          <p:cNvPr id="7" name="Rectangle 6"/>
          <p:cNvSpPr/>
          <p:nvPr/>
        </p:nvSpPr>
        <p:spPr>
          <a:xfrm>
            <a:off x="223707" y="1521011"/>
            <a:ext cx="43091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- </a:t>
            </a:r>
            <a:r>
              <a:rPr lang="en-US" dirty="0" err="1"/>
              <a:t>VehicleIdentification.VIN</a:t>
            </a:r>
            <a:r>
              <a:rPr lang="en-US" dirty="0"/>
              <a:t>:</a:t>
            </a:r>
          </a:p>
          <a:p>
            <a:r>
              <a:rPr lang="en-US" dirty="0"/>
              <a:t>  type: String</a:t>
            </a:r>
          </a:p>
          <a:p>
            <a:r>
              <a:rPr lang="en-US" dirty="0"/>
              <a:t>  description: 17-character Vehicle Identification Number (VIN) as defined by ISO 3779</a:t>
            </a:r>
          </a:p>
        </p:txBody>
      </p:sp>
      <p:sp>
        <p:nvSpPr>
          <p:cNvPr id="8" name="Rectangle 7"/>
          <p:cNvSpPr/>
          <p:nvPr/>
        </p:nvSpPr>
        <p:spPr>
          <a:xfrm>
            <a:off x="223707" y="3131757"/>
            <a:ext cx="43091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 smtClean="0"/>
              <a:t>VehicleIdentification.VIN</a:t>
            </a:r>
            <a:r>
              <a:rPr lang="en-US" dirty="0" smtClean="0"/>
              <a:t>:</a:t>
            </a:r>
          </a:p>
          <a:p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smtClean="0">
                <a:solidFill>
                  <a:schemeClr val="bg2"/>
                </a:solidFill>
              </a:rPr>
              <a:t> function: Attribute</a:t>
            </a:r>
            <a:endParaRPr lang="en-US" b="1" dirty="0">
              <a:solidFill>
                <a:schemeClr val="bg2"/>
              </a:solidFill>
            </a:endParaRPr>
          </a:p>
          <a:p>
            <a:r>
              <a:rPr lang="en-US" dirty="0"/>
              <a:t>  type: </a:t>
            </a:r>
            <a:r>
              <a:rPr lang="en-US" dirty="0" smtClean="0"/>
              <a:t>String</a:t>
            </a:r>
            <a:endParaRPr lang="en-US" dirty="0"/>
          </a:p>
          <a:p>
            <a:r>
              <a:rPr lang="en-US" dirty="0"/>
              <a:t>  description: 17-character Vehicle Identification Number (VIN) as defined by ISO 3779</a:t>
            </a:r>
          </a:p>
        </p:txBody>
      </p:sp>
      <p:sp>
        <p:nvSpPr>
          <p:cNvPr id="9" name="Rectangle 8"/>
          <p:cNvSpPr/>
          <p:nvPr/>
        </p:nvSpPr>
        <p:spPr>
          <a:xfrm>
            <a:off x="7306810" y="2989997"/>
            <a:ext cx="488519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 smtClean="0"/>
              <a:t>AverageSpeed</a:t>
            </a:r>
            <a:r>
              <a:rPr lang="en-US" dirty="0" smtClean="0"/>
              <a:t>:</a:t>
            </a:r>
          </a:p>
          <a:p>
            <a:r>
              <a:rPr lang="en-US" b="1" dirty="0">
                <a:solidFill>
                  <a:schemeClr val="bg2"/>
                </a:solidFill>
              </a:rPr>
              <a:t> </a:t>
            </a:r>
            <a:r>
              <a:rPr lang="en-US" b="1" dirty="0" smtClean="0">
                <a:solidFill>
                  <a:schemeClr val="bg2"/>
                </a:solidFill>
              </a:rPr>
              <a:t> function: Signal</a:t>
            </a:r>
            <a:endParaRPr lang="en-US" b="1" dirty="0">
              <a:solidFill>
                <a:schemeClr val="bg2"/>
              </a:solidFill>
            </a:endParaRPr>
          </a:p>
          <a:p>
            <a:r>
              <a:rPr lang="en-US" dirty="0"/>
              <a:t>  type: Int32</a:t>
            </a:r>
          </a:p>
          <a:p>
            <a:r>
              <a:rPr lang="en-US" dirty="0"/>
              <a:t>  min: -250</a:t>
            </a:r>
          </a:p>
          <a:p>
            <a:r>
              <a:rPr lang="en-US" dirty="0"/>
              <a:t>  max: 250</a:t>
            </a:r>
          </a:p>
          <a:p>
            <a:r>
              <a:rPr lang="en-US" dirty="0"/>
              <a:t>  unit: km/h</a:t>
            </a:r>
          </a:p>
          <a:p>
            <a:r>
              <a:rPr lang="en-US" dirty="0"/>
              <a:t>  description: Average speed for the current </a:t>
            </a:r>
            <a:r>
              <a:rPr lang="en-US" dirty="0" smtClean="0"/>
              <a:t>trip</a:t>
            </a:r>
          </a:p>
          <a:p>
            <a:r>
              <a:rPr lang="en-US" dirty="0" smtClean="0"/>
              <a:t>  </a:t>
            </a:r>
            <a:r>
              <a:rPr lang="en-US" dirty="0"/>
              <a:t>sensor: Odomet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44038" y="5009157"/>
            <a:ext cx="10185096" cy="1477328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Proposals: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 “function” entry that can be</a:t>
            </a:r>
            <a:r>
              <a:rPr lang="en-US" sz="1800" b="0" i="0" u="none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 Signal/Attribu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BMW Group Condensed" panose="020B0606020202020204" pitchFamily="34" charset="0"/>
              </a:rPr>
              <a:t>A “function” entry that can be </a:t>
            </a: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ttribute/Sensor/Actuator/Sensor-Actuator and the sensor/actuator entry remov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Another entry for optional practical information: diagnosis usage, stream usage</a:t>
            </a:r>
            <a:endParaRPr lang="en-US" dirty="0">
              <a:solidFill>
                <a:srgbClr val="000000"/>
              </a:solidFill>
              <a:latin typeface="BMW Group Condensed" panose="020B0606020202020204" pitchFamily="34" charset="0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800" b="0" i="0" u="none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142613" y="2889120"/>
            <a:ext cx="11820088" cy="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Down Arrow 12"/>
          <p:cNvSpPr/>
          <p:nvPr/>
        </p:nvSpPr>
        <p:spPr>
          <a:xfrm>
            <a:off x="5257101" y="2335446"/>
            <a:ext cx="662730" cy="1107347"/>
          </a:xfrm>
          <a:prstGeom prst="downArrow">
            <a:avLst/>
          </a:prstGeom>
          <a:solidFill>
            <a:srgbClr val="CCCCCC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244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(3) Include a URI construction schem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noProof="0" smtClean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6" name="Rectangle 5"/>
          <p:cNvSpPr/>
          <p:nvPr/>
        </p:nvSpPr>
        <p:spPr>
          <a:xfrm>
            <a:off x="374709" y="1048658"/>
            <a:ext cx="43091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 smtClean="0"/>
              <a:t>VehicleIdentification.VIN</a:t>
            </a:r>
            <a:r>
              <a:rPr lang="en-US" dirty="0" smtClean="0"/>
              <a:t>:</a:t>
            </a:r>
          </a:p>
          <a:p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smtClean="0">
                <a:solidFill>
                  <a:schemeClr val="bg2"/>
                </a:solidFill>
              </a:rPr>
              <a:t> function: Attribute</a:t>
            </a:r>
            <a:endParaRPr lang="en-US" dirty="0">
              <a:solidFill>
                <a:schemeClr val="bg2"/>
              </a:solidFill>
            </a:endParaRPr>
          </a:p>
          <a:p>
            <a:r>
              <a:rPr lang="en-US" dirty="0"/>
              <a:t>  type: </a:t>
            </a:r>
            <a:r>
              <a:rPr lang="en-US" dirty="0" smtClean="0"/>
              <a:t>String</a:t>
            </a:r>
            <a:endParaRPr lang="en-US" dirty="0"/>
          </a:p>
          <a:p>
            <a:r>
              <a:rPr lang="en-US" dirty="0"/>
              <a:t>  description: 17-character Vehicle Identification Number (VIN) as defined by ISO 3779</a:t>
            </a:r>
          </a:p>
        </p:txBody>
      </p:sp>
      <p:sp>
        <p:nvSpPr>
          <p:cNvPr id="9" name="Rectangle 8"/>
          <p:cNvSpPr/>
          <p:nvPr/>
        </p:nvSpPr>
        <p:spPr>
          <a:xfrm>
            <a:off x="6386819" y="851473"/>
            <a:ext cx="6096000" cy="24622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"Vehicle": {</a:t>
            </a:r>
          </a:p>
          <a:p>
            <a:r>
              <a:rPr lang="en-US" sz="1400" dirty="0"/>
              <a:t>        "type": "branch", </a:t>
            </a:r>
          </a:p>
          <a:p>
            <a:r>
              <a:rPr lang="en-US" sz="1400" dirty="0"/>
              <a:t>        "children": {</a:t>
            </a:r>
          </a:p>
          <a:p>
            <a:r>
              <a:rPr lang="en-US" sz="1400" dirty="0"/>
              <a:t>          "</a:t>
            </a:r>
            <a:r>
              <a:rPr lang="en-US" sz="1400" dirty="0" err="1"/>
              <a:t>VehicleIdentification</a:t>
            </a:r>
            <a:r>
              <a:rPr lang="en-US" sz="1400" dirty="0"/>
              <a:t>": {</a:t>
            </a:r>
          </a:p>
          <a:p>
            <a:r>
              <a:rPr lang="en-US" sz="1400" dirty="0"/>
              <a:t>            "type": "branch", </a:t>
            </a:r>
          </a:p>
          <a:p>
            <a:r>
              <a:rPr lang="en-US" sz="1400" dirty="0"/>
              <a:t>            "children": </a:t>
            </a:r>
            <a:r>
              <a:rPr lang="en-US" sz="1400" dirty="0" smtClean="0"/>
              <a:t>{	</a:t>
            </a:r>
          </a:p>
          <a:p>
            <a:r>
              <a:rPr lang="en-US" sz="1400" dirty="0"/>
              <a:t>	</a:t>
            </a:r>
            <a:r>
              <a:rPr lang="en-US" sz="1400" dirty="0" smtClean="0"/>
              <a:t>"</a:t>
            </a:r>
            <a:r>
              <a:rPr lang="en-US" sz="1400" dirty="0"/>
              <a:t>VIN": {</a:t>
            </a:r>
          </a:p>
          <a:p>
            <a:r>
              <a:rPr lang="en-US" sz="1400" dirty="0"/>
              <a:t>               </a:t>
            </a:r>
            <a:r>
              <a:rPr lang="en-US" sz="1400" dirty="0" smtClean="0"/>
              <a:t>	 </a:t>
            </a:r>
            <a:r>
              <a:rPr lang="en-US" sz="1400" dirty="0"/>
              <a:t>"description": "17-character Vehicle Identification Number (VIN) as </a:t>
            </a:r>
            <a:r>
              <a:rPr lang="en-US" sz="1400" dirty="0" smtClean="0"/>
              <a:t>	defined </a:t>
            </a:r>
            <a:r>
              <a:rPr lang="en-US" sz="1400" dirty="0"/>
              <a:t>by ISO 3779", </a:t>
            </a:r>
          </a:p>
          <a:p>
            <a:r>
              <a:rPr lang="en-US" sz="1400" dirty="0"/>
              <a:t>                </a:t>
            </a:r>
            <a:r>
              <a:rPr lang="en-US" sz="1400" dirty="0" smtClean="0"/>
              <a:t>	"</a:t>
            </a:r>
            <a:r>
              <a:rPr lang="en-US" sz="1400" dirty="0"/>
              <a:t>type": "String", </a:t>
            </a:r>
          </a:p>
          <a:p>
            <a:r>
              <a:rPr lang="en-US" sz="1400" dirty="0"/>
              <a:t>                </a:t>
            </a:r>
            <a:r>
              <a:rPr lang="en-US" sz="1400" dirty="0" smtClean="0"/>
              <a:t>	"</a:t>
            </a:r>
            <a:r>
              <a:rPr lang="en-US" sz="1400" dirty="0"/>
              <a:t>id": </a:t>
            </a:r>
            <a:r>
              <a:rPr lang="en-US" sz="1400" dirty="0" smtClean="0"/>
              <a:t>40}, </a:t>
            </a:r>
            <a:endParaRPr lang="en-US" sz="1400" dirty="0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5058561" y="1870745"/>
            <a:ext cx="11492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887987" y="1937364"/>
            <a:ext cx="15519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enerate JS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7840" y="3835595"/>
            <a:ext cx="43091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err="1" smtClean="0"/>
              <a:t>VehicleIdentification.VIN</a:t>
            </a:r>
            <a:r>
              <a:rPr lang="en-US" dirty="0" smtClean="0"/>
              <a:t>:</a:t>
            </a:r>
          </a:p>
          <a:p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smtClean="0">
                <a:solidFill>
                  <a:schemeClr val="bg2"/>
                </a:solidFill>
              </a:rPr>
              <a:t> function: Attribute</a:t>
            </a:r>
            <a:endParaRPr lang="en-US" dirty="0">
              <a:solidFill>
                <a:schemeClr val="bg2"/>
              </a:solidFill>
            </a:endParaRPr>
          </a:p>
          <a:p>
            <a:r>
              <a:rPr lang="en-US" dirty="0"/>
              <a:t>  type: </a:t>
            </a:r>
            <a:r>
              <a:rPr lang="en-US" dirty="0" smtClean="0"/>
              <a:t>String</a:t>
            </a:r>
            <a:endParaRPr lang="en-US" dirty="0"/>
          </a:p>
          <a:p>
            <a:r>
              <a:rPr lang="en-US" dirty="0"/>
              <a:t>  description: 17-character Vehicle Identification Number (VIN) as defined by ISO 3779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39950" y="3462417"/>
            <a:ext cx="6096000" cy="289310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dirty="0"/>
              <a:t>"Vehicle": {</a:t>
            </a:r>
          </a:p>
          <a:p>
            <a:r>
              <a:rPr lang="en-US" sz="1400" dirty="0"/>
              <a:t>        "type": "branch", </a:t>
            </a:r>
          </a:p>
          <a:p>
            <a:r>
              <a:rPr lang="en-US" sz="1400" dirty="0"/>
              <a:t>        "children": {</a:t>
            </a:r>
          </a:p>
          <a:p>
            <a:r>
              <a:rPr lang="en-US" sz="1400" dirty="0"/>
              <a:t>          "</a:t>
            </a:r>
            <a:r>
              <a:rPr lang="en-US" sz="1400" dirty="0" err="1"/>
              <a:t>VehicleIdentification</a:t>
            </a:r>
            <a:r>
              <a:rPr lang="en-US" sz="1400" dirty="0"/>
              <a:t>": {</a:t>
            </a:r>
          </a:p>
          <a:p>
            <a:r>
              <a:rPr lang="en-US" sz="1400" dirty="0"/>
              <a:t>            "type": "branch", </a:t>
            </a:r>
          </a:p>
          <a:p>
            <a:r>
              <a:rPr lang="en-US" sz="1400" dirty="0"/>
              <a:t>            "children": </a:t>
            </a:r>
            <a:r>
              <a:rPr lang="en-US" sz="1400" dirty="0" smtClean="0"/>
              <a:t>{	</a:t>
            </a:r>
          </a:p>
          <a:p>
            <a:r>
              <a:rPr lang="en-US" sz="1400" dirty="0"/>
              <a:t>	</a:t>
            </a:r>
            <a:r>
              <a:rPr lang="en-US" sz="1400" dirty="0" smtClean="0"/>
              <a:t>"</a:t>
            </a:r>
            <a:r>
              <a:rPr lang="en-US" sz="1400" dirty="0"/>
              <a:t>VIN": {</a:t>
            </a:r>
          </a:p>
          <a:p>
            <a:r>
              <a:rPr lang="en-US" sz="1400" dirty="0"/>
              <a:t>               </a:t>
            </a:r>
            <a:r>
              <a:rPr lang="en-US" sz="1400" dirty="0" smtClean="0"/>
              <a:t>	 </a:t>
            </a:r>
            <a:r>
              <a:rPr lang="en-US" sz="1400" dirty="0"/>
              <a:t>"description": "17-character Vehicle Identification Number (VIN) as </a:t>
            </a:r>
            <a:r>
              <a:rPr lang="en-US" sz="1400" dirty="0" smtClean="0"/>
              <a:t>	defined </a:t>
            </a:r>
            <a:r>
              <a:rPr lang="en-US" sz="1400" dirty="0"/>
              <a:t>by ISO 3779", </a:t>
            </a:r>
          </a:p>
          <a:p>
            <a:r>
              <a:rPr lang="en-US" sz="1400" dirty="0"/>
              <a:t>                </a:t>
            </a:r>
            <a:r>
              <a:rPr lang="en-US" sz="1400" dirty="0" smtClean="0"/>
              <a:t>	"</a:t>
            </a:r>
            <a:r>
              <a:rPr lang="en-US" sz="1400" dirty="0"/>
              <a:t>type": "String", </a:t>
            </a:r>
          </a:p>
          <a:p>
            <a:r>
              <a:rPr lang="en-US" sz="1400" dirty="0"/>
              <a:t>                </a:t>
            </a:r>
            <a:r>
              <a:rPr lang="en-US" sz="1400" dirty="0" smtClean="0"/>
              <a:t>	"</a:t>
            </a:r>
            <a:r>
              <a:rPr lang="en-US" sz="1400" dirty="0"/>
              <a:t>id": </a:t>
            </a:r>
            <a:r>
              <a:rPr lang="en-US" sz="1400" dirty="0" smtClean="0"/>
              <a:t>40</a:t>
            </a:r>
          </a:p>
          <a:p>
            <a:r>
              <a:rPr lang="en-US" sz="1400" dirty="0"/>
              <a:t>	</a:t>
            </a:r>
            <a:r>
              <a:rPr lang="en-US" sz="1400" b="1" dirty="0" smtClean="0">
                <a:solidFill>
                  <a:schemeClr val="bg2"/>
                </a:solidFill>
              </a:rPr>
              <a:t>“URI”: </a:t>
            </a:r>
            <a:r>
              <a:rPr lang="en-US" sz="1400" b="1" dirty="0" smtClean="0">
                <a:solidFill>
                  <a:schemeClr val="bg2"/>
                </a:solidFill>
                <a:hlinkClick r:id="rId2"/>
              </a:rPr>
              <a:t>https://my.local.network/Vehicle/VehicleIdentification/VIN</a:t>
            </a:r>
            <a:r>
              <a:rPr lang="en-US" sz="1400" b="1" dirty="0" smtClean="0">
                <a:solidFill>
                  <a:schemeClr val="bg2"/>
                </a:solidFill>
              </a:rPr>
              <a:t>,</a:t>
            </a:r>
          </a:p>
          <a:p>
            <a:r>
              <a:rPr lang="en-US" sz="1400" b="1" dirty="0">
                <a:solidFill>
                  <a:schemeClr val="bg2"/>
                </a:solidFill>
              </a:rPr>
              <a:t>	</a:t>
            </a:r>
            <a:r>
              <a:rPr lang="en-US" sz="1400" b="1" dirty="0" smtClean="0">
                <a:solidFill>
                  <a:schemeClr val="bg2"/>
                </a:solidFill>
              </a:rPr>
              <a:t>“source”: “my local source description”</a:t>
            </a:r>
            <a:r>
              <a:rPr lang="en-US" sz="1400" dirty="0" smtClean="0"/>
              <a:t>}, </a:t>
            </a:r>
            <a:endParaRPr lang="en-US" sz="1400" dirty="0"/>
          </a:p>
        </p:txBody>
      </p:sp>
      <p:cxnSp>
        <p:nvCxnSpPr>
          <p:cNvPr id="15" name="Straight Arrow Connector 14"/>
          <p:cNvCxnSpPr/>
          <p:nvPr/>
        </p:nvCxnSpPr>
        <p:spPr>
          <a:xfrm>
            <a:off x="5111692" y="4657682"/>
            <a:ext cx="114929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941118" y="4724301"/>
            <a:ext cx="1551963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Generate JS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90569" y="5670958"/>
            <a:ext cx="2433871" cy="64633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0" i="0" u="sng" baseline="0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Some source mapping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000000"/>
                </a:solidFill>
                <a:latin typeface="BMW Group Condensed" panose="020B0606020202020204" pitchFamily="34" charset="0"/>
              </a:rPr>
              <a:t>(Implementation-specific)</a:t>
            </a:r>
            <a:endParaRPr lang="en-US" sz="1800" b="0" i="0" baseline="0" dirty="0" smtClean="0">
              <a:solidFill>
                <a:srgbClr val="000000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18" name="Arc 17"/>
          <p:cNvSpPr/>
          <p:nvPr/>
        </p:nvSpPr>
        <p:spPr>
          <a:xfrm>
            <a:off x="4362275" y="3835594"/>
            <a:ext cx="525712" cy="2265029"/>
          </a:xfrm>
          <a:prstGeom prst="arc">
            <a:avLst>
              <a:gd name="adj1" fmla="val 16200000"/>
              <a:gd name="adj2" fmla="val 5260019"/>
            </a:avLst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8703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8645C747-DC7B-428F-8881-610A064DAE6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10/2018</a:t>
            </a:fld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 - 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69947" y="2060575"/>
            <a:ext cx="8520346" cy="215443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de-DE" sz="40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Thank</a:t>
            </a:r>
            <a:r>
              <a:rPr lang="de-DE" sz="4000" dirty="0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40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you</a:t>
            </a:r>
            <a:r>
              <a:rPr lang="de-DE" sz="4000" dirty="0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40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for</a:t>
            </a:r>
            <a:r>
              <a:rPr lang="de-DE" sz="4000" dirty="0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40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your</a:t>
            </a:r>
            <a:r>
              <a:rPr lang="de-DE" sz="4000" dirty="0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4000" dirty="0" err="1">
                <a:solidFill>
                  <a:prstClr val="black">
                    <a:lumMod val="50000"/>
                    <a:lumOff val="50000"/>
                  </a:prstClr>
                </a:solidFill>
                <a:latin typeface="BMW Group" pitchFamily="2" charset="0"/>
                <a:cs typeface="BMW Group" pitchFamily="2" charset="0"/>
              </a:rPr>
              <a:t>attention</a:t>
            </a:r>
            <a:endParaRPr lang="de-DE" sz="4000" dirty="0">
              <a:solidFill>
                <a:prstClr val="black">
                  <a:lumMod val="50000"/>
                  <a:lumOff val="50000"/>
                </a:prstClr>
              </a:solidFill>
              <a:latin typeface="BMW Group" pitchFamily="2" charset="0"/>
              <a:cs typeface="BMW Group" pitchFamily="2" charset="0"/>
            </a:endParaRPr>
          </a:p>
          <a:p>
            <a:pPr algn="ctr">
              <a:defRPr/>
            </a:pPr>
            <a:endParaRPr lang="de-DE" sz="4000" dirty="0">
              <a:solidFill>
                <a:srgbClr val="EEECE1"/>
              </a:solidFill>
              <a:latin typeface="BMW Group" pitchFamily="2" charset="0"/>
              <a:cs typeface="BMW Group" pitchFamily="2" charset="0"/>
            </a:endParaRPr>
          </a:p>
          <a:p>
            <a:pPr algn="ctr">
              <a:defRPr/>
            </a:pPr>
            <a:r>
              <a:rPr lang="de-DE" sz="5400" b="1" dirty="0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Do </a:t>
            </a:r>
            <a:r>
              <a:rPr lang="de-DE" sz="5400" b="1" dirty="0" err="1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you</a:t>
            </a:r>
            <a:r>
              <a:rPr lang="de-DE" sz="5400" b="1" dirty="0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5400" b="1" dirty="0" err="1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have</a:t>
            </a:r>
            <a:r>
              <a:rPr lang="de-DE" sz="5400" b="1" dirty="0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 </a:t>
            </a:r>
            <a:r>
              <a:rPr lang="de-DE" sz="5400" b="1" dirty="0" err="1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questions</a:t>
            </a:r>
            <a:r>
              <a:rPr lang="de-DE" sz="5400" b="1" dirty="0">
                <a:solidFill>
                  <a:srgbClr val="8090AF"/>
                </a:solidFill>
                <a:latin typeface="BMW Group" pitchFamily="2" charset="0"/>
                <a:cs typeface="BMW Group" pitchFamily="2" charset="0"/>
              </a:rPr>
              <a:t> ?</a:t>
            </a:r>
            <a:endParaRPr lang="en-US" sz="5400" b="1" dirty="0">
              <a:solidFill>
                <a:srgbClr val="8090AF"/>
              </a:solidFill>
              <a:latin typeface="BMW Group" pitchFamily="2" charset="0"/>
              <a:cs typeface="BMW Group" pitchFamily="2" charset="0"/>
            </a:endParaRPr>
          </a:p>
        </p:txBody>
      </p:sp>
      <p:sp>
        <p:nvSpPr>
          <p:cNvPr id="27652" name="TextBox 3"/>
          <p:cNvSpPr txBox="1">
            <a:spLocks noChangeArrowheads="1"/>
          </p:cNvSpPr>
          <p:nvPr/>
        </p:nvSpPr>
        <p:spPr bwMode="auto">
          <a:xfrm>
            <a:off x="1847851" y="5092701"/>
            <a:ext cx="1996059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50000"/>
              </a:spcBef>
              <a:buClr>
                <a:srgbClr val="0099CC"/>
              </a:buClr>
              <a:buSzPct val="130000"/>
              <a:buFont typeface="Wingdings" panose="05000000000000000000" pitchFamily="2" charset="2"/>
              <a:buChar char="§"/>
              <a:defRPr sz="2400" b="1">
                <a:solidFill>
                  <a:schemeClr val="tx1"/>
                </a:solidFill>
                <a:latin typeface="Eurostile LT Std"/>
              </a:defRPr>
            </a:lvl1pPr>
            <a:lvl2pPr marL="742950" indent="-285750">
              <a:spcBef>
                <a:spcPct val="20000"/>
              </a:spcBef>
              <a:buClr>
                <a:srgbClr val="0099CC"/>
              </a:buClr>
              <a:buFont typeface="Wingdings" panose="05000000000000000000" pitchFamily="2" charset="2"/>
              <a:buChar char="Ø"/>
              <a:defRPr sz="2000">
                <a:solidFill>
                  <a:schemeClr val="tx1"/>
                </a:solidFill>
                <a:latin typeface="Eurostile LT Std"/>
              </a:defRPr>
            </a:lvl2pPr>
            <a:lvl3pPr marL="1143000" indent="-228600">
              <a:spcBef>
                <a:spcPct val="20000"/>
              </a:spcBef>
              <a:buClr>
                <a:srgbClr val="0099CC"/>
              </a:buClr>
              <a:buFont typeface="Eurostile LT Std"/>
              <a:buChar char="–"/>
              <a:defRPr sz="2000">
                <a:solidFill>
                  <a:schemeClr val="tx1"/>
                </a:solidFill>
                <a:latin typeface="Eurostile LT Std"/>
              </a:defRPr>
            </a:lvl3pPr>
            <a:lvl4pPr marL="1600200" indent="-228600">
              <a:spcBef>
                <a:spcPct val="20000"/>
              </a:spcBef>
              <a:buClr>
                <a:srgbClr val="0099CC"/>
              </a:buClr>
              <a:buFont typeface="Wingdings" panose="05000000000000000000" pitchFamily="2" charset="2"/>
              <a:buChar char="F"/>
              <a:defRPr sz="2000">
                <a:solidFill>
                  <a:schemeClr val="tx1"/>
                </a:solidFill>
                <a:latin typeface="Eurostile LT Std"/>
              </a:defRPr>
            </a:lvl4pPr>
            <a:lvl5pPr marL="2057400" indent="-228600">
              <a:spcBef>
                <a:spcPct val="20000"/>
              </a:spcBef>
              <a:buClr>
                <a:srgbClr val="0099CC"/>
              </a:buClr>
              <a:buFont typeface="Wingdings" panose="05000000000000000000" pitchFamily="2" charset="2"/>
              <a:buChar char="s"/>
              <a:defRPr sz="2000">
                <a:solidFill>
                  <a:schemeClr val="tx1"/>
                </a:solidFill>
                <a:latin typeface="Eurostile LT Std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anose="05000000000000000000" pitchFamily="2" charset="2"/>
              <a:buChar char="s"/>
              <a:defRPr sz="2000">
                <a:solidFill>
                  <a:schemeClr val="tx1"/>
                </a:solidFill>
                <a:latin typeface="Eurostile LT Std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anose="05000000000000000000" pitchFamily="2" charset="2"/>
              <a:buChar char="s"/>
              <a:defRPr sz="2000">
                <a:solidFill>
                  <a:schemeClr val="tx1"/>
                </a:solidFill>
                <a:latin typeface="Eurostile LT Std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anose="05000000000000000000" pitchFamily="2" charset="2"/>
              <a:buChar char="s"/>
              <a:defRPr sz="2000">
                <a:solidFill>
                  <a:schemeClr val="tx1"/>
                </a:solidFill>
                <a:latin typeface="Eurostile LT Std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anose="05000000000000000000" pitchFamily="2" charset="2"/>
              <a:buChar char="s"/>
              <a:defRPr sz="2000">
                <a:solidFill>
                  <a:schemeClr val="tx1"/>
                </a:solidFill>
                <a:latin typeface="Eurostile LT Std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de-DE" altLang="en-US" sz="1800">
                <a:solidFill>
                  <a:prstClr val="black"/>
                </a:solidFill>
                <a:latin typeface="Arial" panose="020B0604020202020204" pitchFamily="34" charset="0"/>
              </a:rPr>
              <a:t>Contact: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de-DE" altLang="en-US" sz="1800" b="0">
                <a:solidFill>
                  <a:prstClr val="black"/>
                </a:solidFill>
                <a:latin typeface="Arial" panose="020B0604020202020204" pitchFamily="34" charset="0"/>
              </a:rPr>
              <a:t>Benjamin Klotz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de-DE" altLang="en-US" sz="1800" b="0">
                <a:solidFill>
                  <a:prstClr val="black"/>
                </a:solidFill>
                <a:latin typeface="Arial" panose="020B0604020202020204" pitchFamily="34" charset="0"/>
                <a:hlinkClick r:id="rId2"/>
              </a:rPr>
              <a:t>klotz@eurecom.fr</a:t>
            </a:r>
            <a:endParaRPr lang="de-DE" altLang="en-US" sz="1800" b="0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de-DE" altLang="en-US" sz="1800" b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71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Benutzerdefiniert 68">
      <a:dk1>
        <a:srgbClr val="000000"/>
      </a:dk1>
      <a:lt1>
        <a:sysClr val="window" lastClr="FFFFFF"/>
      </a:lt1>
      <a:dk2>
        <a:srgbClr val="404040"/>
      </a:dk2>
      <a:lt2>
        <a:srgbClr val="92A2BD"/>
      </a:lt2>
      <a:accent1>
        <a:srgbClr val="667184"/>
      </a:accent1>
      <a:accent2>
        <a:srgbClr val="92A2BD"/>
      </a:accent2>
      <a:accent3>
        <a:srgbClr val="ADB9CE"/>
      </a:accent3>
      <a:accent4>
        <a:srgbClr val="C9D1DE"/>
      </a:accent4>
      <a:accent5>
        <a:srgbClr val="E4E8EE"/>
      </a:accent5>
      <a:accent6>
        <a:srgbClr val="DDDAD2"/>
      </a:accent6>
      <a:hlink>
        <a:srgbClr val="000000"/>
      </a:hlink>
      <a:folHlink>
        <a:srgbClr val="00000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 w="9525">
          <a:solidFill>
            <a:srgbClr val="CCCCCC"/>
          </a:solidFill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-Motorrad_E_16zu9.pptx" id="{8E61418D-C37C-4F08-9B64-834A15C0CDD8}" vid="{AA933100-1D8C-419D-8B06-8E153B12226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BMW-Motorrad_E_16zu9</Template>
  <TotalTime>0</TotalTime>
  <Words>660</Words>
  <Application>Microsoft Office PowerPoint</Application>
  <PresentationFormat>Widescreen</PresentationFormat>
  <Paragraphs>188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rial</vt:lpstr>
      <vt:lpstr>Arial Narrow</vt:lpstr>
      <vt:lpstr>BMW Group</vt:lpstr>
      <vt:lpstr>BMW Group Condensed</vt:lpstr>
      <vt:lpstr>BMW Group Condensed Bold</vt:lpstr>
      <vt:lpstr>BMW Type Global Pro Regular</vt:lpstr>
      <vt:lpstr>BMWType V2 Bold</vt:lpstr>
      <vt:lpstr>Calibri</vt:lpstr>
      <vt:lpstr>Symbol</vt:lpstr>
      <vt:lpstr>Wingdings</vt:lpstr>
      <vt:lpstr>BMW Group 16:9</vt:lpstr>
      <vt:lpstr>Thème Office</vt:lpstr>
      <vt:lpstr>1_Thème Office</vt:lpstr>
      <vt:lpstr>VSS 2.0 proposal</vt:lpstr>
      <vt:lpstr>VSS in a nutshell</vt:lpstr>
      <vt:lpstr>VSS in 3 trees</vt:lpstr>
      <vt:lpstr>Proposal</vt:lpstr>
      <vt:lpstr>(1) Merge trees to have only one vss</vt:lpstr>
      <vt:lpstr>(2) Extend the metadata on leaves</vt:lpstr>
      <vt:lpstr>(3) Include a URI construction scheme</vt:lpstr>
      <vt:lpstr>PowerPoint Presentation</vt:lpstr>
    </vt:vector>
  </TitlesOfParts>
  <Company>BMW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otz Benjamin, LT-3</dc:creator>
  <cp:lastModifiedBy>Klotz Benjamin, LT-3</cp:lastModifiedBy>
  <cp:revision>306</cp:revision>
  <dcterms:created xsi:type="dcterms:W3CDTF">2017-06-21T12:47:18Z</dcterms:created>
  <dcterms:modified xsi:type="dcterms:W3CDTF">2018-10-26T09:11:43Z</dcterms:modified>
</cp:coreProperties>
</file>